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8"/>
    <p:sldMasterId id="2147483648" r:id="rId9"/>
    <p:sldMasterId id="2147483662" r:id="rId10"/>
  </p:sldMasterIdLst>
  <p:notesMasterIdLst>
    <p:notesMasterId r:id="rId31"/>
  </p:notesMasterIdLst>
  <p:sldIdLst>
    <p:sldId id="581" r:id="rId11"/>
    <p:sldId id="4232" r:id="rId12"/>
    <p:sldId id="4237" r:id="rId13"/>
    <p:sldId id="4233" r:id="rId14"/>
    <p:sldId id="4225" r:id="rId15"/>
    <p:sldId id="772" r:id="rId16"/>
    <p:sldId id="4213" r:id="rId17"/>
    <p:sldId id="4223" r:id="rId18"/>
    <p:sldId id="777" r:id="rId19"/>
    <p:sldId id="4228" r:id="rId20"/>
    <p:sldId id="778" r:id="rId21"/>
    <p:sldId id="4218" r:id="rId22"/>
    <p:sldId id="860" r:id="rId23"/>
    <p:sldId id="4221" r:id="rId24"/>
    <p:sldId id="4222" r:id="rId25"/>
    <p:sldId id="4235" r:id="rId26"/>
    <p:sldId id="4224" r:id="rId27"/>
    <p:sldId id="4236" r:id="rId28"/>
    <p:sldId id="4231" r:id="rId29"/>
    <p:sldId id="480"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19288E2-8A9C-49F8-96E5-0E6C0BA8D9C9}">
          <p14:sldIdLst>
            <p14:sldId id="581"/>
            <p14:sldId id="4232"/>
            <p14:sldId id="4237"/>
            <p14:sldId id="4233"/>
          </p14:sldIdLst>
        </p14:section>
        <p14:section name="Untitled Section" id="{01029C3F-8FA6-480B-A2F5-F9F34025453A}">
          <p14:sldIdLst>
            <p14:sldId id="4225"/>
            <p14:sldId id="772"/>
            <p14:sldId id="4213"/>
            <p14:sldId id="4223"/>
            <p14:sldId id="777"/>
            <p14:sldId id="4228"/>
            <p14:sldId id="778"/>
            <p14:sldId id="4218"/>
            <p14:sldId id="860"/>
            <p14:sldId id="4221"/>
            <p14:sldId id="4222"/>
            <p14:sldId id="4235"/>
            <p14:sldId id="4224"/>
            <p14:sldId id="4236"/>
            <p14:sldId id="4231"/>
            <p14:sldId id="48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8DDFD1C-7507-DF87-F473-BA6F8E79CF5E}" name="Hodson, Laura" initials="HL" userId="S::lhodson@deloitte.co.nz::33ad9f86-74ba-401a-ba39-7cb531eff86e" providerId="AD"/>
  <p188:author id="{21A1394B-7EA2-1162-0C96-AB80E9E5F64C}" name="Weir, Jason" initials="WJ" userId="S::jasweir@deloitte.co.nz::be1908e6-aa77-4fb5-a05a-8f15e05b19b0" providerId="AD"/>
  <p188:author id="{DC7D934D-9964-7D9A-3D70-13A587AACEDC}" name="Davidson, Catherine" initials="DC" userId="S::catdavidson@deloitte.co.nz::df079452-72f7-4619-a606-ddda08cc682b" providerId="AD"/>
  <p188:author id="{782168A4-A995-74FA-AAE6-D92CC28DDA07}" name="Ali, Nadia" initials="AN" userId="S::nadiaali@deloitte.co.nz::d4a5aa1b-86f4-44bd-894b-26d4862f1b8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86BC25"/>
    <a:srgbClr val="26890D"/>
    <a:srgbClr val="70AD47"/>
    <a:srgbClr val="000000"/>
    <a:srgbClr val="046A38"/>
    <a:srgbClr val="007680"/>
    <a:srgbClr val="4BABE1"/>
    <a:srgbClr val="C00000"/>
    <a:srgbClr val="00A3E0"/>
    <a:srgbClr val="007AA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718" autoAdjust="0"/>
  </p:normalViewPr>
  <p:slideViewPr>
    <p:cSldViewPr snapToGrid="0">
      <p:cViewPr varScale="1">
        <p:scale>
          <a:sx n="73" d="100"/>
          <a:sy n="73" d="100"/>
        </p:scale>
        <p:origin x="970"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microsoft.com/office/2018/10/relationships/authors" Target="authors.xml"/><Relationship Id="rId10" Type="http://schemas.openxmlformats.org/officeDocument/2006/relationships/slideMaster" Target="slideMasters/slideMaster3.xml"/><Relationship Id="rId19" Type="http://schemas.openxmlformats.org/officeDocument/2006/relationships/slide" Target="slides/slide9.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tableStyles" Target="tableStyles.xml"/><Relationship Id="rId8"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Z"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3D5221-FED3-48FD-9972-2F8587A150E0}" type="datetimeFigureOut">
              <a:rPr lang="en-NZ" smtClean="0"/>
              <a:t>25/07/2023</a:t>
            </a:fld>
            <a:endParaRPr lang="en-NZ"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Z"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Z"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B8FCD6-04E0-4ABC-A021-25AB33E02D12}" type="slidenum">
              <a:rPr lang="en-NZ" smtClean="0"/>
              <a:t>‹#›</a:t>
            </a:fld>
            <a:endParaRPr lang="en-NZ" dirty="0"/>
          </a:p>
        </p:txBody>
      </p:sp>
    </p:spTree>
    <p:extLst>
      <p:ext uri="{BB962C8B-B14F-4D97-AF65-F5344CB8AC3E}">
        <p14:creationId xmlns:p14="http://schemas.microsoft.com/office/powerpoint/2010/main" val="6138176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5756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02B8FCD6-04E0-4ABC-A021-25AB33E02D12}" type="slidenum">
              <a:rPr lang="en-NZ" smtClean="0"/>
              <a:t>10</a:t>
            </a:fld>
            <a:endParaRPr lang="en-NZ" dirty="0"/>
          </a:p>
        </p:txBody>
      </p:sp>
    </p:spTree>
    <p:extLst>
      <p:ext uri="{BB962C8B-B14F-4D97-AF65-F5344CB8AC3E}">
        <p14:creationId xmlns:p14="http://schemas.microsoft.com/office/powerpoint/2010/main" val="1926768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NZ" dirty="0"/>
          </a:p>
        </p:txBody>
      </p:sp>
      <p:sp>
        <p:nvSpPr>
          <p:cNvPr id="4" name="Slide Number Placeholder 3"/>
          <p:cNvSpPr>
            <a:spLocks noGrp="1"/>
          </p:cNvSpPr>
          <p:nvPr>
            <p:ph type="sldNum" sz="quarter" idx="5"/>
          </p:nvPr>
        </p:nvSpPr>
        <p:spPr/>
        <p:txBody>
          <a:bodyPr/>
          <a:lstStyle/>
          <a:p>
            <a:fld id="{02B8FCD6-04E0-4ABC-A021-25AB33E02D12}" type="slidenum">
              <a:rPr lang="en-NZ" smtClean="0"/>
              <a:t>11</a:t>
            </a:fld>
            <a:endParaRPr lang="en-NZ" dirty="0"/>
          </a:p>
        </p:txBody>
      </p:sp>
    </p:spTree>
    <p:extLst>
      <p:ext uri="{BB962C8B-B14F-4D97-AF65-F5344CB8AC3E}">
        <p14:creationId xmlns:p14="http://schemas.microsoft.com/office/powerpoint/2010/main" val="1916137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algn="ctr">
              <a:lnSpc>
                <a:spcPct val="107000"/>
              </a:lnSpc>
              <a:spcAft>
                <a:spcPts val="800"/>
              </a:spcAft>
            </a:pPr>
            <a:r>
              <a:rPr lang="en-NZ" sz="1800" dirty="0">
                <a:effectLst/>
                <a:latin typeface="Calibri" panose="020F0502020204030204" pitchFamily="34" charset="0"/>
                <a:ea typeface="Calibri" panose="020F0502020204030204" pitchFamily="34" charset="0"/>
                <a:cs typeface="Calibri" panose="020F0502020204030204" pitchFamily="34" charset="0"/>
              </a:rPr>
              <a:t> </a:t>
            </a:r>
            <a:endParaRPr lang="en-NZ"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NZ"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NZ"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981574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7059575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02B8FCD6-04E0-4ABC-A021-25AB33E02D12}" type="slidenum">
              <a:rPr lang="en-NZ" smtClean="0"/>
              <a:t>14</a:t>
            </a:fld>
            <a:endParaRPr lang="en-NZ" dirty="0"/>
          </a:p>
        </p:txBody>
      </p:sp>
    </p:spTree>
    <p:extLst>
      <p:ext uri="{BB962C8B-B14F-4D97-AF65-F5344CB8AC3E}">
        <p14:creationId xmlns:p14="http://schemas.microsoft.com/office/powerpoint/2010/main" val="28538865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NZ" dirty="0"/>
          </a:p>
        </p:txBody>
      </p:sp>
      <p:sp>
        <p:nvSpPr>
          <p:cNvPr id="4" name="Slide Number Placeholder 3"/>
          <p:cNvSpPr>
            <a:spLocks noGrp="1"/>
          </p:cNvSpPr>
          <p:nvPr>
            <p:ph type="sldNum" sz="quarter" idx="5"/>
          </p:nvPr>
        </p:nvSpPr>
        <p:spPr/>
        <p:txBody>
          <a:bodyPr/>
          <a:lstStyle/>
          <a:p>
            <a:fld id="{02B8FCD6-04E0-4ABC-A021-25AB33E02D12}" type="slidenum">
              <a:rPr lang="en-NZ" smtClean="0"/>
              <a:t>15</a:t>
            </a:fld>
            <a:endParaRPr lang="en-NZ" dirty="0"/>
          </a:p>
        </p:txBody>
      </p:sp>
    </p:spTree>
    <p:extLst>
      <p:ext uri="{BB962C8B-B14F-4D97-AF65-F5344CB8AC3E}">
        <p14:creationId xmlns:p14="http://schemas.microsoft.com/office/powerpoint/2010/main" val="16270297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02B8FCD6-04E0-4ABC-A021-25AB33E02D12}" type="slidenum">
              <a:rPr lang="en-NZ" smtClean="0"/>
              <a:t>16</a:t>
            </a:fld>
            <a:endParaRPr lang="en-NZ" dirty="0"/>
          </a:p>
        </p:txBody>
      </p:sp>
    </p:spTree>
    <p:extLst>
      <p:ext uri="{BB962C8B-B14F-4D97-AF65-F5344CB8AC3E}">
        <p14:creationId xmlns:p14="http://schemas.microsoft.com/office/powerpoint/2010/main" val="3110161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02B8FCD6-04E0-4ABC-A021-25AB33E02D12}" type="slidenum">
              <a:rPr lang="en-NZ" smtClean="0"/>
              <a:t>17</a:t>
            </a:fld>
            <a:endParaRPr lang="en-NZ" dirty="0"/>
          </a:p>
        </p:txBody>
      </p:sp>
    </p:spTree>
    <p:extLst>
      <p:ext uri="{BB962C8B-B14F-4D97-AF65-F5344CB8AC3E}">
        <p14:creationId xmlns:p14="http://schemas.microsoft.com/office/powerpoint/2010/main" val="31608211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02B8FCD6-04E0-4ABC-A021-25AB33E02D12}" type="slidenum">
              <a:rPr lang="en-NZ" smtClean="0"/>
              <a:t>18</a:t>
            </a:fld>
            <a:endParaRPr lang="en-NZ" dirty="0"/>
          </a:p>
        </p:txBody>
      </p:sp>
    </p:spTree>
    <p:extLst>
      <p:ext uri="{BB962C8B-B14F-4D97-AF65-F5344CB8AC3E}">
        <p14:creationId xmlns:p14="http://schemas.microsoft.com/office/powerpoint/2010/main" val="11347246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02B8FCD6-04E0-4ABC-A021-25AB33E02D12}" type="slidenum">
              <a:rPr lang="en-NZ" smtClean="0"/>
              <a:t>19</a:t>
            </a:fld>
            <a:endParaRPr lang="en-NZ" dirty="0"/>
          </a:p>
        </p:txBody>
      </p:sp>
    </p:spTree>
    <p:extLst>
      <p:ext uri="{BB962C8B-B14F-4D97-AF65-F5344CB8AC3E}">
        <p14:creationId xmlns:p14="http://schemas.microsoft.com/office/powerpoint/2010/main" val="4228142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487553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712889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8475381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6502686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02B8FCD6-04E0-4ABC-A021-25AB33E02D12}" type="slidenum">
              <a:rPr lang="en-NZ" smtClean="0"/>
              <a:t>6</a:t>
            </a:fld>
            <a:endParaRPr lang="en-NZ" dirty="0"/>
          </a:p>
        </p:txBody>
      </p:sp>
    </p:spTree>
    <p:extLst>
      <p:ext uri="{BB962C8B-B14F-4D97-AF65-F5344CB8AC3E}">
        <p14:creationId xmlns:p14="http://schemas.microsoft.com/office/powerpoint/2010/main" val="3614548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NZ" dirty="0"/>
          </a:p>
        </p:txBody>
      </p:sp>
      <p:sp>
        <p:nvSpPr>
          <p:cNvPr id="4" name="Slide Number Placeholder 3"/>
          <p:cNvSpPr>
            <a:spLocks noGrp="1"/>
          </p:cNvSpPr>
          <p:nvPr>
            <p:ph type="sldNum" sz="quarter" idx="5"/>
          </p:nvPr>
        </p:nvSpPr>
        <p:spPr/>
        <p:txBody>
          <a:bodyPr/>
          <a:lstStyle/>
          <a:p>
            <a:fld id="{02B8FCD6-04E0-4ABC-A021-25AB33E02D12}" type="slidenum">
              <a:rPr lang="en-NZ" smtClean="0"/>
              <a:t>7</a:t>
            </a:fld>
            <a:endParaRPr lang="en-NZ" dirty="0"/>
          </a:p>
        </p:txBody>
      </p:sp>
    </p:spTree>
    <p:extLst>
      <p:ext uri="{BB962C8B-B14F-4D97-AF65-F5344CB8AC3E}">
        <p14:creationId xmlns:p14="http://schemas.microsoft.com/office/powerpoint/2010/main" val="1711757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NZ" dirty="0"/>
          </a:p>
        </p:txBody>
      </p:sp>
      <p:sp>
        <p:nvSpPr>
          <p:cNvPr id="4" name="Slide Number Placeholder 3"/>
          <p:cNvSpPr>
            <a:spLocks noGrp="1"/>
          </p:cNvSpPr>
          <p:nvPr>
            <p:ph type="sldNum" sz="quarter" idx="5"/>
          </p:nvPr>
        </p:nvSpPr>
        <p:spPr/>
        <p:txBody>
          <a:bodyPr/>
          <a:lstStyle/>
          <a:p>
            <a:fld id="{02B8FCD6-04E0-4ABC-A021-25AB33E02D12}" type="slidenum">
              <a:rPr lang="en-NZ" smtClean="0"/>
              <a:t>8</a:t>
            </a:fld>
            <a:endParaRPr lang="en-NZ" dirty="0"/>
          </a:p>
        </p:txBody>
      </p:sp>
    </p:spTree>
    <p:extLst>
      <p:ext uri="{BB962C8B-B14F-4D97-AF65-F5344CB8AC3E}">
        <p14:creationId xmlns:p14="http://schemas.microsoft.com/office/powerpoint/2010/main" val="2860905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u="sng" dirty="0"/>
          </a:p>
        </p:txBody>
      </p:sp>
      <p:sp>
        <p:nvSpPr>
          <p:cNvPr id="4" name="Slide Number Placeholder 3"/>
          <p:cNvSpPr>
            <a:spLocks noGrp="1"/>
          </p:cNvSpPr>
          <p:nvPr>
            <p:ph type="sldNum" sz="quarter" idx="5"/>
          </p:nvPr>
        </p:nvSpPr>
        <p:spPr/>
        <p:txBody>
          <a:bodyPr/>
          <a:lstStyle/>
          <a:p>
            <a:fld id="{02B8FCD6-04E0-4ABC-A021-25AB33E02D12}" type="slidenum">
              <a:rPr lang="en-NZ" smtClean="0"/>
              <a:t>9</a:t>
            </a:fld>
            <a:endParaRPr lang="en-NZ" dirty="0"/>
          </a:p>
        </p:txBody>
      </p:sp>
    </p:spTree>
    <p:extLst>
      <p:ext uri="{BB962C8B-B14F-4D97-AF65-F5344CB8AC3E}">
        <p14:creationId xmlns:p14="http://schemas.microsoft.com/office/powerpoint/2010/main" val="5540737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GB" noProof="0" dirty="0"/>
              <a:t>Click icon to add picture</a:t>
            </a:r>
            <a:endParaRPr lang="en-GB"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Tree>
    <p:extLst>
      <p:ext uri="{BB962C8B-B14F-4D97-AF65-F5344CB8AC3E}">
        <p14:creationId xmlns:p14="http://schemas.microsoft.com/office/powerpoint/2010/main" val="100068167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GB" dirty="0"/>
              <a:t>Click icon to add chart</a:t>
            </a:r>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GB" noProof="0"/>
              <a:t>Click to edit Master text styles</a:t>
            </a:r>
            <a:endParaRPr lang="en-GB"/>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GB"/>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63488335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a:t>Click to add title</a:t>
            </a:r>
          </a:p>
        </p:txBody>
      </p:sp>
    </p:spTree>
    <p:extLst>
      <p:ext uri="{BB962C8B-B14F-4D97-AF65-F5344CB8AC3E}">
        <p14:creationId xmlns:p14="http://schemas.microsoft.com/office/powerpoint/2010/main" val="2368806714"/>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j-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a:t>Click to add title</a:t>
            </a:r>
          </a:p>
        </p:txBody>
      </p:sp>
    </p:spTree>
    <p:extLst>
      <p:ext uri="{BB962C8B-B14F-4D97-AF65-F5344CB8AC3E}">
        <p14:creationId xmlns:p14="http://schemas.microsoft.com/office/powerpoint/2010/main" val="997320221"/>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GB"/>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GB"/>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0" name="Group 19">
            <a:extLst>
              <a:ext uri="{FF2B5EF4-FFF2-40B4-BE49-F238E27FC236}">
                <a16:creationId xmlns:a16="http://schemas.microsoft.com/office/drawing/2014/main" id="{A475D951-68C7-4A6F-ADC6-AB9C10E42F07}"/>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0549B55-8335-4CC4-9417-E768B8E137D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0C08EAE3-1065-497F-B8AA-86005E1B7A6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966AA8D-FE19-49A0-B249-C78D2E85CC9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2289C80D-1FA5-42CC-A523-8259B7FD08F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6261A9E2-F698-4343-96EA-AA0015AC51B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D1108B0-A2B5-43FD-8CC1-CC36168B903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AFA473B9-98DD-4132-83C3-26DCC5D0CC8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E1286E94-0A74-4D64-8FE5-E2FC7038DCB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DB23453-5417-4773-B5E0-516CE48D969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2DF2930F-8858-4645-96D1-C2224669578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184229463"/>
      </p:ext>
    </p:extLst>
  </p:cSld>
  <p:clrMapOvr>
    <a:masterClrMapping/>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GB" noProof="0"/>
              <a:t>Click to add title</a:t>
            </a:r>
            <a:endParaRPr lang="en-GB"/>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GB" noProof="0" dirty="0"/>
              <a:t>Click icon to add picture</a:t>
            </a:r>
            <a:endParaRPr lang="en-GB"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4247030440"/>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34743229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52061623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GB" noProof="0" dirty="0"/>
              <a:t>Click icon to add chart</a:t>
            </a:r>
            <a:endParaRPr lang="en-GB"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GB" noProof="0"/>
              <a:t>Click to edit Master text styles</a:t>
            </a:r>
            <a:endParaRPr lang="en-GB"/>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GB"/>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18009305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GB" dirty="0"/>
              <a:t>Click icon to add chart</a:t>
            </a:r>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GB" noProof="0"/>
              <a:t>Click to edit Master text styles</a:t>
            </a:r>
            <a:endParaRPr lang="en-GB"/>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GB" dirty="0"/>
              <a:t>Click icon to add chart</a:t>
            </a:r>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GB" noProof="0"/>
              <a:t>Click to edit Master text styles</a:t>
            </a:r>
            <a:endParaRPr lang="en-GB"/>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76049395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11737245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GB" noProof="0" dirty="0"/>
              <a:t>Click icon to add picture</a:t>
            </a:r>
            <a:endParaRPr lang="en-GB"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Master title style</a:t>
            </a:r>
            <a:endParaRPr lang="en-GB"/>
          </a:p>
        </p:txBody>
      </p:sp>
      <p:grpSp>
        <p:nvGrpSpPr>
          <p:cNvPr id="6" name="Group 5">
            <a:extLst>
              <a:ext uri="{FF2B5EF4-FFF2-40B4-BE49-F238E27FC236}">
                <a16:creationId xmlns:a16="http://schemas.microsoft.com/office/drawing/2014/main" id="{4DC58949-8DE8-6F4B-A58A-5B16CB0C749C}"/>
              </a:ext>
            </a:extLst>
          </p:cNvPr>
          <p:cNvGrpSpPr>
            <a:grpSpLocks noChangeAspect="1"/>
          </p:cNvGrpSpPr>
          <p:nvPr userDrawn="1"/>
        </p:nvGrpSpPr>
        <p:grpSpPr>
          <a:xfrm>
            <a:off x="475325" y="457200"/>
            <a:ext cx="1998000" cy="374400"/>
            <a:chOff x="398463" y="404813"/>
            <a:chExt cx="1627187" cy="307976"/>
          </a:xfrm>
          <a:solidFill>
            <a:schemeClr val="bg1"/>
          </a:solidFill>
        </p:grpSpPr>
        <p:sp>
          <p:nvSpPr>
            <p:cNvPr id="7" name="Oval 5">
              <a:extLst>
                <a:ext uri="{FF2B5EF4-FFF2-40B4-BE49-F238E27FC236}">
                  <a16:creationId xmlns:a16="http://schemas.microsoft.com/office/drawing/2014/main" id="{DD3BBDE7-EA41-D740-B7CE-2B1345F6436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8" name="Freeform 6">
              <a:extLst>
                <a:ext uri="{FF2B5EF4-FFF2-40B4-BE49-F238E27FC236}">
                  <a16:creationId xmlns:a16="http://schemas.microsoft.com/office/drawing/2014/main" id="{D663BACF-403E-0D49-9CA4-45CCE410C0C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CE97F996-6C92-A64E-BC05-6795993A3BD5}"/>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798DEFE3-EE76-B44F-81AD-41A4123E057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EC6228E0-FE1D-404B-ADF7-61BAAE68666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3163F31B-8A7B-704A-B588-907BBAA7F6D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B76B40D2-9B0E-C245-8CC6-955C3146A34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108CCBC3-453B-6A46-BFF1-434E3F448FD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BDAF9A0D-B93D-DB4C-9B8A-6043F141750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a:extLst>
                <a:ext uri="{FF2B5EF4-FFF2-40B4-BE49-F238E27FC236}">
                  <a16:creationId xmlns:a16="http://schemas.microsoft.com/office/drawing/2014/main" id="{37EDEEA1-0528-6B48-B014-FCDDE7EB10B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78567991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36545670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GB" noProof="0" dirty="0"/>
              <a:t>Click icon to add chart</a:t>
            </a:r>
            <a:endParaRPr lang="en-GB"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GB" noProof="0"/>
              <a:t>Click to edit Master text styles</a:t>
            </a:r>
            <a:endParaRPr lang="en-GB"/>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GB" noProof="0" dirty="0"/>
              <a:t>Click icon to add chart</a:t>
            </a:r>
            <a:endParaRPr lang="en-GB"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GB" noProof="0"/>
              <a:t>Click to edit Master text styles</a:t>
            </a:r>
            <a:endParaRPr lang="en-GB"/>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GB" noProof="0" dirty="0"/>
              <a:t>Click icon to add chart</a:t>
            </a:r>
            <a:endParaRPr lang="en-GB"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GB" noProof="0"/>
              <a:t>Click to edit Master text styles</a:t>
            </a:r>
            <a:endParaRPr lang="en-GB"/>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noProof="0"/>
              <a:t>Click to edit Master text styles</a:t>
            </a:r>
            <a:endParaRPr lang="en-GB"/>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18356721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GB" noProof="0" dirty="0"/>
              <a:t>Click icon to add picture</a:t>
            </a:r>
            <a:endParaRPr lang="en-GB"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GB" noProof="0" dirty="0"/>
              <a:t>Click icon to add picture</a:t>
            </a:r>
            <a:endParaRPr lang="en-GB"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GB" noProof="0" dirty="0"/>
              <a:t>Click icon to add picture</a:t>
            </a:r>
            <a:endParaRPr lang="en-GB"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GB" noProof="0" dirty="0"/>
              <a:t>Click icon to add picture</a:t>
            </a:r>
            <a:endParaRPr lang="en-GB"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23924725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GB" dirty="0"/>
              <a:t>Click icon to add picture</a:t>
            </a:r>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GB"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dirty="0"/>
              <a:t>Click icon to add picture</a:t>
            </a:r>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5" name="Rectangle 24">
            <a:extLst>
              <a:ext uri="{FF2B5EF4-FFF2-40B4-BE49-F238E27FC236}">
                <a16:creationId xmlns:a16="http://schemas.microsoft.com/office/drawing/2014/main" id="{8676016B-595B-4B09-8A9C-981F4092254D}"/>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Tree>
    <p:extLst>
      <p:ext uri="{BB962C8B-B14F-4D97-AF65-F5344CB8AC3E}">
        <p14:creationId xmlns:p14="http://schemas.microsoft.com/office/powerpoint/2010/main" val="237223287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dirty="0">
                <a:solidFill>
                  <a:schemeClr val="bg1"/>
                </a:solidFill>
              </a:rPr>
              <a:t>Co-brand</a:t>
            </a:r>
            <a:br>
              <a:rPr lang="en-NZ" sz="1200" noProof="0" dirty="0">
                <a:solidFill>
                  <a:schemeClr val="bg1"/>
                </a:solidFill>
              </a:rPr>
            </a:br>
            <a:r>
              <a:rPr lang="en-GB" sz="1200" noProof="0" dirty="0">
                <a:solidFill>
                  <a:schemeClr val="bg1"/>
                </a:solidFill>
              </a:rPr>
              <a:t>Logo</a:t>
            </a:r>
            <a:endParaRPr lang="en-GB" dirty="0"/>
          </a:p>
          <a:p>
            <a:endParaRPr lang="en-GB"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dirty="0">
                <a:solidFill>
                  <a:schemeClr val="bg1"/>
                </a:solidFill>
              </a:rPr>
              <a:t>Co-brand</a:t>
            </a:r>
            <a:br>
              <a:rPr lang="en-NZ" sz="1200" noProof="0" dirty="0">
                <a:solidFill>
                  <a:schemeClr val="bg1"/>
                </a:solidFill>
              </a:rPr>
            </a:br>
            <a:r>
              <a:rPr lang="en-GB" sz="1200" noProof="0" dirty="0">
                <a:solidFill>
                  <a:schemeClr val="bg1"/>
                </a:solidFill>
              </a:rPr>
              <a:t>Logo</a:t>
            </a:r>
            <a:endParaRPr lang="en-GB" dirty="0"/>
          </a:p>
          <a:p>
            <a:endParaRPr lang="en-GB"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14" name="Rectangle 13">
            <a:extLst>
              <a:ext uri="{FF2B5EF4-FFF2-40B4-BE49-F238E27FC236}">
                <a16:creationId xmlns:a16="http://schemas.microsoft.com/office/drawing/2014/main" id="{D360E003-ECB4-492B-8A94-28433C076FF8}"/>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5" name="Rectangle 14">
            <a:extLst>
              <a:ext uri="{FF2B5EF4-FFF2-40B4-BE49-F238E27FC236}">
                <a16:creationId xmlns:a16="http://schemas.microsoft.com/office/drawing/2014/main" id="{2D54539A-8172-4D14-BE07-3622A53C73DF}"/>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Tree>
    <p:extLst>
      <p:ext uri="{BB962C8B-B14F-4D97-AF65-F5344CB8AC3E}">
        <p14:creationId xmlns:p14="http://schemas.microsoft.com/office/powerpoint/2010/main" val="28886266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a:solidFill>
                  <a:schemeClr val="bg1"/>
                </a:solidFill>
              </a:rPr>
              <a:t>Co-brand</a:t>
            </a:r>
            <a:br>
              <a:rPr lang="en-NZ" sz="1200" dirty="0">
                <a:solidFill>
                  <a:schemeClr val="bg1"/>
                </a:solidFill>
              </a:rPr>
            </a:br>
            <a:r>
              <a:rPr lang="en-GB" sz="1200" dirty="0">
                <a:solidFill>
                  <a:schemeClr val="bg1"/>
                </a:solidFill>
              </a:rPr>
              <a:t>Logo</a:t>
            </a:r>
            <a:endParaRPr lang="en-GB" dirty="0"/>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a:solidFill>
                  <a:schemeClr val="bg1"/>
                </a:solidFill>
              </a:rPr>
              <a:t>Co-brand</a:t>
            </a:r>
            <a:br>
              <a:rPr lang="en-NZ" sz="1200" dirty="0">
                <a:solidFill>
                  <a:schemeClr val="bg1"/>
                </a:solidFill>
              </a:rPr>
            </a:br>
            <a:r>
              <a:rPr lang="en-GB" sz="1200" dirty="0">
                <a:solidFill>
                  <a:schemeClr val="bg1"/>
                </a:solidFill>
              </a:rPr>
              <a:t>Logo</a:t>
            </a:r>
            <a:endParaRPr lang="en-GB" dirty="0"/>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a:solidFill>
                  <a:schemeClr val="bg1"/>
                </a:solidFill>
              </a:rPr>
              <a:t>Co-brand</a:t>
            </a:r>
            <a:br>
              <a:rPr lang="en-NZ" sz="1200" dirty="0">
                <a:solidFill>
                  <a:schemeClr val="bg1"/>
                </a:solidFill>
              </a:rPr>
            </a:br>
            <a:r>
              <a:rPr lang="en-GB" sz="1200" dirty="0">
                <a:solidFill>
                  <a:schemeClr val="bg1"/>
                </a:solidFill>
              </a:rPr>
              <a:t>Logo</a:t>
            </a:r>
            <a:endParaRPr lang="en-GB" dirty="0"/>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a:solidFill>
                  <a:schemeClr val="bg1"/>
                </a:solidFill>
              </a:rPr>
              <a:t>Co-brand</a:t>
            </a:r>
            <a:br>
              <a:rPr lang="en-NZ" sz="1200" dirty="0">
                <a:solidFill>
                  <a:schemeClr val="bg1"/>
                </a:solidFill>
              </a:rPr>
            </a:br>
            <a:r>
              <a:rPr lang="en-GB" sz="1200" dirty="0">
                <a:solidFill>
                  <a:schemeClr val="bg1"/>
                </a:solidFill>
              </a:rPr>
              <a:t>Logo</a:t>
            </a:r>
            <a:endParaRPr lang="en-GB" dirty="0"/>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3626260578"/>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1448144695"/>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GB" noProof="0" dirty="0"/>
              <a:t>Click icon to add picture</a:t>
            </a:r>
            <a:endParaRPr lang="en-GB" dirty="0"/>
          </a:p>
        </p:txBody>
      </p:sp>
      <p:sp>
        <p:nvSpPr>
          <p:cNvPr id="5" name="Picture Placeholder 7"/>
          <p:cNvSpPr>
            <a:spLocks noGrp="1"/>
          </p:cNvSpPr>
          <p:nvPr>
            <p:ph type="pic" sz="quarter" idx="14"/>
          </p:nvPr>
        </p:nvSpPr>
        <p:spPr>
          <a:xfrm>
            <a:off x="8006398" y="1674087"/>
            <a:ext cx="3683953" cy="1971675"/>
          </a:xfrm>
        </p:spPr>
        <p:txBody>
          <a:bodyPr/>
          <a:lstStyle/>
          <a:p>
            <a:r>
              <a:rPr lang="en-GB" noProof="0" dirty="0"/>
              <a:t>Click icon to add picture</a:t>
            </a:r>
            <a:endParaRPr lang="en-GB" dirty="0"/>
          </a:p>
        </p:txBody>
      </p:sp>
      <p:sp>
        <p:nvSpPr>
          <p:cNvPr id="6" name="Picture Placeholder 7"/>
          <p:cNvSpPr>
            <a:spLocks noGrp="1"/>
          </p:cNvSpPr>
          <p:nvPr>
            <p:ph type="pic" sz="quarter" idx="15"/>
          </p:nvPr>
        </p:nvSpPr>
        <p:spPr>
          <a:xfrm>
            <a:off x="4273075" y="1674087"/>
            <a:ext cx="3657600" cy="1971675"/>
          </a:xfrm>
        </p:spPr>
        <p:txBody>
          <a:bodyPr/>
          <a:lstStyle/>
          <a:p>
            <a:r>
              <a:rPr lang="en-GB" noProof="0" dirty="0"/>
              <a:t>Click icon to add picture</a:t>
            </a:r>
            <a:endParaRPr lang="en-GB"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93578702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737009236"/>
      </p:ext>
    </p:extLst>
  </p:cSld>
  <p:clrMapOvr>
    <a:masterClrMapping/>
  </p:clrMapOvr>
  <p:transition>
    <p:fade/>
  </p:transition>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44009307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a:t>
            </a:r>
            <a:br>
              <a:rPr lang="en-NZ" noProof="0"/>
            </a:br>
            <a:r>
              <a:rPr lang="en-GB" noProof="0"/>
              <a:t>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GB" dirty="0"/>
              <a:t>Click to edit Master title style</a:t>
            </a:r>
          </a:p>
        </p:txBody>
      </p:sp>
    </p:spTree>
    <p:extLst>
      <p:ext uri="{BB962C8B-B14F-4D97-AF65-F5344CB8AC3E}">
        <p14:creationId xmlns:p14="http://schemas.microsoft.com/office/powerpoint/2010/main" val="391397485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78716180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75020151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260112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GB" dirty="0"/>
              <a:t>Click icon to add chart</a:t>
            </a:r>
          </a:p>
        </p:txBody>
      </p:sp>
      <p:sp>
        <p:nvSpPr>
          <p:cNvPr id="18" name="Text Placeholder 8"/>
          <p:cNvSpPr>
            <a:spLocks noGrp="1"/>
          </p:cNvSpPr>
          <p:nvPr>
            <p:ph type="body" sz="quarter" idx="18"/>
          </p:nvPr>
        </p:nvSpPr>
        <p:spPr>
          <a:xfrm>
            <a:off x="501652" y="1674087"/>
            <a:ext cx="11188699" cy="357187"/>
          </a:xfrm>
        </p:spPr>
        <p:txBody>
          <a:bodyPr/>
          <a:lstStyle/>
          <a:p>
            <a:pPr lvl="0"/>
            <a:r>
              <a:rPr lang="en-GB" noProof="0"/>
              <a:t>Click to edit Master text styles</a:t>
            </a:r>
            <a:endParaRPr lang="en-GB"/>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GB"/>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01976364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a:t>Click to add title</a:t>
            </a:r>
          </a:p>
        </p:txBody>
      </p:sp>
    </p:spTree>
    <p:extLst>
      <p:ext uri="{BB962C8B-B14F-4D97-AF65-F5344CB8AC3E}">
        <p14:creationId xmlns:p14="http://schemas.microsoft.com/office/powerpoint/2010/main" val="4035821012"/>
      </p:ext>
    </p:extLst>
  </p:cSld>
  <p:clrMapOvr>
    <a:masterClrMapping/>
  </p:clrMapOvr>
  <p:transition>
    <p:fade/>
  </p:transition>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18408517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8175516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3" name="Chart Placeholder 2"/>
          <p:cNvSpPr>
            <a:spLocks noGrp="1"/>
          </p:cNvSpPr>
          <p:nvPr>
            <p:ph type="chart" sz="quarter" idx="21"/>
          </p:nvPr>
        </p:nvSpPr>
        <p:spPr>
          <a:xfrm>
            <a:off x="6341223" y="2125013"/>
            <a:ext cx="5349128" cy="3996000"/>
          </a:xfrm>
        </p:spPr>
        <p:txBody>
          <a:bodyPr/>
          <a:lstStyle/>
          <a:p>
            <a:r>
              <a:rPr lang="en-GB" noProof="0" dirty="0"/>
              <a:t>Click icon to add chart</a:t>
            </a:r>
            <a:endParaRPr lang="en-GB" dirty="0"/>
          </a:p>
        </p:txBody>
      </p:sp>
      <p:sp>
        <p:nvSpPr>
          <p:cNvPr id="6" name="Text Placeholder 5"/>
          <p:cNvSpPr>
            <a:spLocks noGrp="1"/>
          </p:cNvSpPr>
          <p:nvPr>
            <p:ph type="body" sz="quarter" idx="22"/>
          </p:nvPr>
        </p:nvSpPr>
        <p:spPr>
          <a:xfrm>
            <a:off x="6341223" y="1665288"/>
            <a:ext cx="5349128" cy="420687"/>
          </a:xfrm>
        </p:spPr>
        <p:txBody>
          <a:bodyPr/>
          <a:lstStyle/>
          <a:p>
            <a:pPr lvl="0"/>
            <a:r>
              <a:rPr lang="en-GB" noProof="0"/>
              <a:t>Click to edit Master text styles</a:t>
            </a:r>
            <a:endParaRPr lang="en-GB"/>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GB"/>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56464165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GB" dirty="0"/>
              <a:t>Click icon to add chart</a:t>
            </a:r>
          </a:p>
        </p:txBody>
      </p:sp>
      <p:sp>
        <p:nvSpPr>
          <p:cNvPr id="6" name="Text Placeholder 5"/>
          <p:cNvSpPr>
            <a:spLocks noGrp="1"/>
          </p:cNvSpPr>
          <p:nvPr>
            <p:ph type="body" sz="quarter" idx="22"/>
          </p:nvPr>
        </p:nvSpPr>
        <p:spPr>
          <a:xfrm>
            <a:off x="6341222" y="1665288"/>
            <a:ext cx="5349129" cy="420687"/>
          </a:xfrm>
        </p:spPr>
        <p:txBody>
          <a:bodyPr/>
          <a:lstStyle/>
          <a:p>
            <a:pPr lvl="0"/>
            <a:r>
              <a:rPr lang="en-GB" noProof="0"/>
              <a:t>Click to edit Master text styles</a:t>
            </a:r>
            <a:endParaRPr lang="en-GB"/>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GB"/>
              <a:t>Click to edit Master text styles</a:t>
            </a:r>
          </a:p>
        </p:txBody>
      </p:sp>
      <p:sp>
        <p:nvSpPr>
          <p:cNvPr id="9" name="Chart Placeholder 2"/>
          <p:cNvSpPr>
            <a:spLocks noGrp="1"/>
          </p:cNvSpPr>
          <p:nvPr>
            <p:ph type="chart" sz="quarter" idx="24"/>
          </p:nvPr>
        </p:nvSpPr>
        <p:spPr>
          <a:xfrm>
            <a:off x="501650" y="2125013"/>
            <a:ext cx="5349240" cy="3996000"/>
          </a:xfrm>
        </p:spPr>
        <p:txBody>
          <a:bodyPr/>
          <a:lstStyle/>
          <a:p>
            <a:r>
              <a:rPr lang="en-GB" dirty="0"/>
              <a:t>Click icon to add chart</a:t>
            </a:r>
          </a:p>
        </p:txBody>
      </p:sp>
      <p:sp>
        <p:nvSpPr>
          <p:cNvPr id="12" name="Text Placeholder 5"/>
          <p:cNvSpPr>
            <a:spLocks noGrp="1"/>
          </p:cNvSpPr>
          <p:nvPr>
            <p:ph type="body" sz="quarter" idx="25"/>
          </p:nvPr>
        </p:nvSpPr>
        <p:spPr>
          <a:xfrm>
            <a:off x="501649" y="1665288"/>
            <a:ext cx="5349240" cy="420687"/>
          </a:xfrm>
        </p:spPr>
        <p:txBody>
          <a:bodyPr/>
          <a:lstStyle/>
          <a:p>
            <a:pPr lvl="0"/>
            <a:r>
              <a:rPr lang="en-GB" noProof="0"/>
              <a:t>Click to edit Master text styles</a:t>
            </a:r>
            <a:endParaRPr lang="en-GB"/>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81062601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8" name="Content Placeholder 3"/>
          <p:cNvSpPr>
            <a:spLocks noGrp="1"/>
          </p:cNvSpPr>
          <p:nvPr>
            <p:ph sz="quarter" idx="16"/>
          </p:nvPr>
        </p:nvSpPr>
        <p:spPr>
          <a:xfrm>
            <a:off x="5450349" y="1665289"/>
            <a:ext cx="6240000"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6892374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GB" noProof="0"/>
              <a:t>Click to edit Master title style</a:t>
            </a:r>
            <a:endParaRPr lang="en-GB"/>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a:t>Click to edit Master text styles</a:t>
            </a:r>
            <a:endParaRPr lang="en-GB"/>
          </a:p>
        </p:txBody>
      </p:sp>
    </p:spTree>
    <p:extLst>
      <p:ext uri="{BB962C8B-B14F-4D97-AF65-F5344CB8AC3E}">
        <p14:creationId xmlns:p14="http://schemas.microsoft.com/office/powerpoint/2010/main" val="3985603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77379998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GB" noProof="0" dirty="0"/>
              <a:t>Click icon to add chart</a:t>
            </a:r>
            <a:endParaRPr lang="en-GB" dirty="0"/>
          </a:p>
        </p:txBody>
      </p:sp>
      <p:sp>
        <p:nvSpPr>
          <p:cNvPr id="18" name="Text Placeholder 8"/>
          <p:cNvSpPr>
            <a:spLocks noGrp="1"/>
          </p:cNvSpPr>
          <p:nvPr>
            <p:ph type="body" sz="quarter" idx="18"/>
          </p:nvPr>
        </p:nvSpPr>
        <p:spPr>
          <a:xfrm>
            <a:off x="501650" y="1659145"/>
            <a:ext cx="3549549" cy="392112"/>
          </a:xfrm>
        </p:spPr>
        <p:txBody>
          <a:bodyPr/>
          <a:lstStyle/>
          <a:p>
            <a:pPr lvl="0"/>
            <a:r>
              <a:rPr lang="en-GB" noProof="0"/>
              <a:t>Click to edit Master text styles</a:t>
            </a:r>
            <a:endParaRPr lang="en-GB"/>
          </a:p>
        </p:txBody>
      </p:sp>
      <p:sp>
        <p:nvSpPr>
          <p:cNvPr id="7" name="Chart Placeholder 3"/>
          <p:cNvSpPr>
            <a:spLocks noGrp="1"/>
          </p:cNvSpPr>
          <p:nvPr>
            <p:ph type="chart" sz="quarter" idx="19"/>
          </p:nvPr>
        </p:nvSpPr>
        <p:spPr>
          <a:xfrm>
            <a:off x="4322401" y="2051999"/>
            <a:ext cx="3549549" cy="4069014"/>
          </a:xfrm>
          <a:prstGeom prst="rect">
            <a:avLst/>
          </a:prstGeom>
        </p:spPr>
        <p:txBody>
          <a:bodyPr/>
          <a:lstStyle/>
          <a:p>
            <a:r>
              <a:rPr lang="en-GB" noProof="0" dirty="0"/>
              <a:t>Click icon to add chart</a:t>
            </a:r>
            <a:endParaRPr lang="en-GB" dirty="0"/>
          </a:p>
        </p:txBody>
      </p:sp>
      <p:sp>
        <p:nvSpPr>
          <p:cNvPr id="8" name="Text Placeholder 8"/>
          <p:cNvSpPr>
            <a:spLocks noGrp="1"/>
          </p:cNvSpPr>
          <p:nvPr>
            <p:ph type="body" sz="quarter" idx="20"/>
          </p:nvPr>
        </p:nvSpPr>
        <p:spPr>
          <a:xfrm>
            <a:off x="4321226" y="1659145"/>
            <a:ext cx="3549549" cy="392112"/>
          </a:xfrm>
        </p:spPr>
        <p:txBody>
          <a:bodyPr/>
          <a:lstStyle/>
          <a:p>
            <a:pPr lvl="0"/>
            <a:r>
              <a:rPr lang="en-GB" noProof="0"/>
              <a:t>Click to edit Master text styles</a:t>
            </a:r>
            <a:endParaRPr lang="en-GB"/>
          </a:p>
        </p:txBody>
      </p:sp>
      <p:sp>
        <p:nvSpPr>
          <p:cNvPr id="9" name="Chart Placeholder 3"/>
          <p:cNvSpPr>
            <a:spLocks noGrp="1"/>
          </p:cNvSpPr>
          <p:nvPr>
            <p:ph type="chart" sz="quarter" idx="21"/>
          </p:nvPr>
        </p:nvSpPr>
        <p:spPr>
          <a:xfrm>
            <a:off x="8140801" y="2051999"/>
            <a:ext cx="3549549" cy="4069014"/>
          </a:xfrm>
          <a:prstGeom prst="rect">
            <a:avLst/>
          </a:prstGeom>
        </p:spPr>
        <p:txBody>
          <a:bodyPr/>
          <a:lstStyle/>
          <a:p>
            <a:r>
              <a:rPr lang="en-GB" noProof="0" dirty="0"/>
              <a:t>Click icon to add chart</a:t>
            </a:r>
            <a:endParaRPr lang="en-GB" dirty="0"/>
          </a:p>
        </p:txBody>
      </p:sp>
      <p:sp>
        <p:nvSpPr>
          <p:cNvPr id="10" name="Text Placeholder 8"/>
          <p:cNvSpPr>
            <a:spLocks noGrp="1"/>
          </p:cNvSpPr>
          <p:nvPr>
            <p:ph type="body" sz="quarter" idx="22"/>
          </p:nvPr>
        </p:nvSpPr>
        <p:spPr>
          <a:xfrm>
            <a:off x="8140801" y="1659145"/>
            <a:ext cx="3549549" cy="398256"/>
          </a:xfrm>
        </p:spPr>
        <p:txBody>
          <a:bodyPr/>
          <a:lstStyle/>
          <a:p>
            <a:pPr lvl="0"/>
            <a:r>
              <a:rPr lang="en-GB" noProof="0"/>
              <a:t>Click to edit Master text styles</a:t>
            </a:r>
            <a:endParaRPr lang="en-GB"/>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GB" noProof="0"/>
              <a:t>Click to edit Master text styles</a:t>
            </a:r>
            <a:endParaRPr lang="en-GB"/>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31727609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GB" noProof="0" dirty="0"/>
              <a:t>Click icon to add picture</a:t>
            </a:r>
            <a:endParaRPr lang="en-GB"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GB" noProof="0" dirty="0"/>
              <a:t>Click icon to add picture</a:t>
            </a:r>
            <a:endParaRPr lang="en-GB"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GB" noProof="0" dirty="0"/>
              <a:t>Click icon to add picture</a:t>
            </a:r>
            <a:endParaRPr lang="en-GB"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GB" noProof="0" dirty="0"/>
              <a:t>Click icon to add picture</a:t>
            </a:r>
            <a:endParaRPr lang="en-GB" dirty="0"/>
          </a:p>
        </p:txBody>
      </p:sp>
      <p:sp>
        <p:nvSpPr>
          <p:cNvPr id="9" name="Text Placeholder 8"/>
          <p:cNvSpPr>
            <a:spLocks noGrp="1"/>
          </p:cNvSpPr>
          <p:nvPr>
            <p:ph type="body" sz="quarter" idx="17"/>
          </p:nvPr>
        </p:nvSpPr>
        <p:spPr>
          <a:xfrm>
            <a:off x="501650" y="3124200"/>
            <a:ext cx="2720468" cy="3257548"/>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p:cNvSpPr>
            <a:spLocks noGrp="1"/>
          </p:cNvSpPr>
          <p:nvPr>
            <p:ph type="body" sz="quarter" idx="18"/>
          </p:nvPr>
        </p:nvSpPr>
        <p:spPr>
          <a:xfrm>
            <a:off x="6149963" y="3120551"/>
            <a:ext cx="2712000" cy="326119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1" name="Text Placeholder 8"/>
          <p:cNvSpPr>
            <a:spLocks noGrp="1"/>
          </p:cNvSpPr>
          <p:nvPr>
            <p:ph type="body" sz="quarter" idx="19"/>
          </p:nvPr>
        </p:nvSpPr>
        <p:spPr>
          <a:xfrm>
            <a:off x="3330040" y="3124200"/>
            <a:ext cx="2712000" cy="325754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2" name="Text Placeholder 8"/>
          <p:cNvSpPr>
            <a:spLocks noGrp="1"/>
          </p:cNvSpPr>
          <p:nvPr>
            <p:ph type="body" sz="quarter" idx="20"/>
          </p:nvPr>
        </p:nvSpPr>
        <p:spPr>
          <a:xfrm>
            <a:off x="8993169" y="3108508"/>
            <a:ext cx="2697183" cy="3273240"/>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16905943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GB" dirty="0"/>
              <a:t>Click icon to add picture</a:t>
            </a:r>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GB"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dirty="0"/>
              <a:t>Click icon to add picture</a:t>
            </a:r>
          </a:p>
        </p:txBody>
      </p:sp>
      <p:sp>
        <p:nvSpPr>
          <p:cNvPr id="13" name="Text Placeholder 12"/>
          <p:cNvSpPr>
            <a:spLocks noGrp="1"/>
          </p:cNvSpPr>
          <p:nvPr>
            <p:ph type="body" sz="quarter" idx="32"/>
          </p:nvPr>
        </p:nvSpPr>
        <p:spPr>
          <a:xfrm>
            <a:off x="2683483" y="1845377"/>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4" name="Text Placeholder 12"/>
          <p:cNvSpPr>
            <a:spLocks noGrp="1"/>
          </p:cNvSpPr>
          <p:nvPr>
            <p:ph type="body" sz="quarter" idx="33"/>
          </p:nvPr>
        </p:nvSpPr>
        <p:spPr>
          <a:xfrm>
            <a:off x="8396560" y="1845377"/>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5" name="Text Placeholder 12"/>
          <p:cNvSpPr>
            <a:spLocks noGrp="1"/>
          </p:cNvSpPr>
          <p:nvPr>
            <p:ph type="body" sz="quarter" idx="34"/>
          </p:nvPr>
        </p:nvSpPr>
        <p:spPr>
          <a:xfrm>
            <a:off x="2683483" y="4256213"/>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6" name="Text Placeholder 12"/>
          <p:cNvSpPr>
            <a:spLocks noGrp="1"/>
          </p:cNvSpPr>
          <p:nvPr>
            <p:ph type="body" sz="quarter" idx="35"/>
          </p:nvPr>
        </p:nvSpPr>
        <p:spPr>
          <a:xfrm>
            <a:off x="8396560" y="4256213"/>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81730633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9" name="Text Placeholder 8"/>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dirty="0">
                <a:solidFill>
                  <a:schemeClr val="bg1"/>
                </a:solidFill>
              </a:rPr>
              <a:t>Co-brand</a:t>
            </a:r>
            <a:br>
              <a:rPr lang="en-NZ" sz="1200" noProof="0" dirty="0">
                <a:solidFill>
                  <a:schemeClr val="bg1"/>
                </a:solidFill>
              </a:rPr>
            </a:br>
            <a:r>
              <a:rPr lang="en-GB" sz="1200" noProof="0" dirty="0">
                <a:solidFill>
                  <a:schemeClr val="bg1"/>
                </a:solidFill>
              </a:rPr>
              <a:t>Logo</a:t>
            </a:r>
            <a:endParaRPr lang="en-GB" dirty="0"/>
          </a:p>
          <a:p>
            <a:endParaRPr lang="en-GB"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dirty="0">
                <a:solidFill>
                  <a:schemeClr val="bg1"/>
                </a:solidFill>
              </a:rPr>
              <a:t>Co-brand</a:t>
            </a:r>
            <a:br>
              <a:rPr lang="en-NZ" sz="1200" noProof="0" dirty="0">
                <a:solidFill>
                  <a:schemeClr val="bg1"/>
                </a:solidFill>
              </a:rPr>
            </a:br>
            <a:r>
              <a:rPr lang="en-GB" sz="1200" noProof="0" dirty="0">
                <a:solidFill>
                  <a:schemeClr val="bg1"/>
                </a:solidFill>
              </a:rPr>
              <a:t>Logo</a:t>
            </a:r>
            <a:endParaRPr lang="en-GB" dirty="0"/>
          </a:p>
          <a:p>
            <a:endParaRPr lang="en-GB" noProof="0" dirty="0"/>
          </a:p>
        </p:txBody>
      </p:sp>
      <p:sp>
        <p:nvSpPr>
          <p:cNvPr id="10" name="Rectangle 9">
            <a:extLst>
              <a:ext uri="{FF2B5EF4-FFF2-40B4-BE49-F238E27FC236}">
                <a16:creationId xmlns:a16="http://schemas.microsoft.com/office/drawing/2014/main" id="{283703CC-2625-4A3C-9057-35BB359C858C}"/>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282769977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a:solidFill>
                  <a:schemeClr val="bg1"/>
                </a:solidFill>
              </a:rPr>
              <a:t>Co-brand</a:t>
            </a:r>
            <a:br>
              <a:rPr lang="en-NZ" sz="1200" dirty="0">
                <a:solidFill>
                  <a:schemeClr val="bg1"/>
                </a:solidFill>
              </a:rPr>
            </a:br>
            <a:r>
              <a:rPr lang="en-GB" sz="1200" dirty="0">
                <a:solidFill>
                  <a:schemeClr val="bg1"/>
                </a:solidFill>
              </a:rPr>
              <a:t>Logo</a:t>
            </a:r>
            <a:endParaRPr lang="en-GB" dirty="0"/>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a:solidFill>
                  <a:schemeClr val="bg1"/>
                </a:solidFill>
              </a:rPr>
              <a:t>Co-brand</a:t>
            </a:r>
            <a:br>
              <a:rPr lang="en-NZ" sz="1200" dirty="0">
                <a:solidFill>
                  <a:schemeClr val="bg1"/>
                </a:solidFill>
              </a:rPr>
            </a:br>
            <a:r>
              <a:rPr lang="en-GB" sz="1200" dirty="0">
                <a:solidFill>
                  <a:schemeClr val="bg1"/>
                </a:solidFill>
              </a:rPr>
              <a:t>Logo</a:t>
            </a:r>
            <a:endParaRPr lang="en-GB" dirty="0"/>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a:solidFill>
                  <a:schemeClr val="bg1"/>
                </a:solidFill>
              </a:rPr>
              <a:t>Co-brand</a:t>
            </a:r>
            <a:br>
              <a:rPr lang="en-NZ" sz="1200" dirty="0">
                <a:solidFill>
                  <a:schemeClr val="bg1"/>
                </a:solidFill>
              </a:rPr>
            </a:br>
            <a:r>
              <a:rPr lang="en-GB" sz="1200" dirty="0">
                <a:solidFill>
                  <a:schemeClr val="bg1"/>
                </a:solidFill>
              </a:rPr>
              <a:t>Logo</a:t>
            </a:r>
            <a:endParaRPr lang="en-GB" dirty="0"/>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dirty="0">
                <a:solidFill>
                  <a:schemeClr val="bg1"/>
                </a:solidFill>
              </a:rPr>
              <a:t>Co-brand</a:t>
            </a:r>
            <a:br>
              <a:rPr lang="en-NZ" sz="1200" dirty="0">
                <a:solidFill>
                  <a:schemeClr val="bg1"/>
                </a:solidFill>
              </a:rPr>
            </a:br>
            <a:r>
              <a:rPr lang="en-GB" sz="1200" dirty="0">
                <a:solidFill>
                  <a:schemeClr val="bg1"/>
                </a:solidFill>
              </a:rPr>
              <a:t>Logo</a:t>
            </a:r>
            <a:endParaRPr lang="en-GB" dirty="0"/>
          </a:p>
          <a:p>
            <a:endParaRPr lang="en-GB" dirty="0"/>
          </a:p>
        </p:txBody>
      </p:sp>
      <p:sp>
        <p:nvSpPr>
          <p:cNvPr id="18" name="Rectangle 17">
            <a:extLst>
              <a:ext uri="{FF2B5EF4-FFF2-40B4-BE49-F238E27FC236}">
                <a16:creationId xmlns:a16="http://schemas.microsoft.com/office/drawing/2014/main" id="{A32462FA-7D20-4E6B-9335-5F0CC56925D0}"/>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24" name="Text Placeholder 8">
            <a:extLst>
              <a:ext uri="{FF2B5EF4-FFF2-40B4-BE49-F238E27FC236}">
                <a16:creationId xmlns:a16="http://schemas.microsoft.com/office/drawing/2014/main" id="{C0C507E7-B81B-4C48-A5AA-EB2302302973}"/>
              </a:ext>
            </a:extLst>
          </p:cNvPr>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5" name="Text Placeholder 8">
            <a:extLst>
              <a:ext uri="{FF2B5EF4-FFF2-40B4-BE49-F238E27FC236}">
                <a16:creationId xmlns:a16="http://schemas.microsoft.com/office/drawing/2014/main" id="{A4B9D944-7F4E-42D4-8A84-43402BC40F0D}"/>
              </a:ext>
            </a:extLst>
          </p:cNvPr>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6" name="Text Placeholder 8">
            <a:extLst>
              <a:ext uri="{FF2B5EF4-FFF2-40B4-BE49-F238E27FC236}">
                <a16:creationId xmlns:a16="http://schemas.microsoft.com/office/drawing/2014/main" id="{D3B7D15E-E3BF-4AE0-B657-86BF4076BE3E}"/>
              </a:ext>
            </a:extLst>
          </p:cNvPr>
          <p:cNvSpPr>
            <a:spLocks noGrp="1"/>
          </p:cNvSpPr>
          <p:nvPr>
            <p:ph type="body" sz="quarter" idx="26"/>
          </p:nvPr>
        </p:nvSpPr>
        <p:spPr>
          <a:xfrm>
            <a:off x="547075" y="4251853"/>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27" name="Text Placeholder 8">
            <a:extLst>
              <a:ext uri="{FF2B5EF4-FFF2-40B4-BE49-F238E27FC236}">
                <a16:creationId xmlns:a16="http://schemas.microsoft.com/office/drawing/2014/main" id="{960D4485-EAA8-48B3-931F-31B5CEB3E678}"/>
              </a:ext>
            </a:extLst>
          </p:cNvPr>
          <p:cNvSpPr>
            <a:spLocks noGrp="1"/>
          </p:cNvSpPr>
          <p:nvPr>
            <p:ph type="body" sz="quarter" idx="27"/>
          </p:nvPr>
        </p:nvSpPr>
        <p:spPr>
          <a:xfrm>
            <a:off x="6280396" y="4251853"/>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107246135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
        <p:nvSpPr>
          <p:cNvPr id="14" name="Text Placeholder 8">
            <a:extLst>
              <a:ext uri="{FF2B5EF4-FFF2-40B4-BE49-F238E27FC236}">
                <a16:creationId xmlns:a16="http://schemas.microsoft.com/office/drawing/2014/main" id="{68D44A10-A1BE-4B60-89A4-889D08B8B34B}"/>
              </a:ext>
            </a:extLst>
          </p:cNvPr>
          <p:cNvSpPr>
            <a:spLocks noGrp="1"/>
          </p:cNvSpPr>
          <p:nvPr>
            <p:ph type="body" sz="quarter" idx="17"/>
          </p:nvPr>
        </p:nvSpPr>
        <p:spPr>
          <a:xfrm>
            <a:off x="512874" y="1857892"/>
            <a:ext cx="3584464" cy="4265506"/>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5" name="Text Placeholder 8">
            <a:extLst>
              <a:ext uri="{FF2B5EF4-FFF2-40B4-BE49-F238E27FC236}">
                <a16:creationId xmlns:a16="http://schemas.microsoft.com/office/drawing/2014/main" id="{9F52FC78-7A4E-4367-9DA3-28A234B39DF1}"/>
              </a:ext>
            </a:extLst>
          </p:cNvPr>
          <p:cNvSpPr>
            <a:spLocks noGrp="1"/>
          </p:cNvSpPr>
          <p:nvPr>
            <p:ph type="body" sz="quarter" idx="22"/>
          </p:nvPr>
        </p:nvSpPr>
        <p:spPr>
          <a:xfrm>
            <a:off x="4320000"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8" name="Text Placeholder 8">
            <a:extLst>
              <a:ext uri="{FF2B5EF4-FFF2-40B4-BE49-F238E27FC236}">
                <a16:creationId xmlns:a16="http://schemas.microsoft.com/office/drawing/2014/main" id="{2D6B6D6E-986C-4D4B-8630-4EBB5F79C2AC}"/>
              </a:ext>
            </a:extLst>
          </p:cNvPr>
          <p:cNvSpPr>
            <a:spLocks noGrp="1"/>
          </p:cNvSpPr>
          <p:nvPr>
            <p:ph type="body" sz="quarter" idx="23"/>
          </p:nvPr>
        </p:nvSpPr>
        <p:spPr>
          <a:xfrm>
            <a:off x="8177084"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5929677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GB" noProof="0" dirty="0"/>
              <a:t>Click icon to add picture</a:t>
            </a:r>
            <a:endParaRPr lang="en-GB" dirty="0"/>
          </a:p>
        </p:txBody>
      </p:sp>
      <p:sp>
        <p:nvSpPr>
          <p:cNvPr id="5" name="Picture Placeholder 7"/>
          <p:cNvSpPr>
            <a:spLocks noGrp="1"/>
          </p:cNvSpPr>
          <p:nvPr>
            <p:ph type="pic" sz="quarter" idx="14"/>
          </p:nvPr>
        </p:nvSpPr>
        <p:spPr>
          <a:xfrm>
            <a:off x="8006398" y="1674087"/>
            <a:ext cx="3683953" cy="1971675"/>
          </a:xfrm>
        </p:spPr>
        <p:txBody>
          <a:bodyPr/>
          <a:lstStyle/>
          <a:p>
            <a:r>
              <a:rPr lang="en-GB" noProof="0" dirty="0"/>
              <a:t>Click icon to add picture</a:t>
            </a:r>
            <a:endParaRPr lang="en-GB" dirty="0"/>
          </a:p>
        </p:txBody>
      </p:sp>
      <p:sp>
        <p:nvSpPr>
          <p:cNvPr id="6" name="Picture Placeholder 7"/>
          <p:cNvSpPr>
            <a:spLocks noGrp="1"/>
          </p:cNvSpPr>
          <p:nvPr>
            <p:ph type="pic" sz="quarter" idx="15"/>
          </p:nvPr>
        </p:nvSpPr>
        <p:spPr>
          <a:xfrm>
            <a:off x="4273075" y="1674087"/>
            <a:ext cx="3657600" cy="1971675"/>
          </a:xfrm>
        </p:spPr>
        <p:txBody>
          <a:bodyPr/>
          <a:lstStyle/>
          <a:p>
            <a:r>
              <a:rPr lang="en-GB" noProof="0" dirty="0"/>
              <a:t>Click icon to add picture</a:t>
            </a:r>
            <a:endParaRPr lang="en-GB"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47807732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5" name="Text Placeholder 8"/>
          <p:cNvSpPr>
            <a:spLocks noGrp="1"/>
          </p:cNvSpPr>
          <p:nvPr>
            <p:ph type="body" sz="quarter" idx="18"/>
          </p:nvPr>
        </p:nvSpPr>
        <p:spPr>
          <a:xfrm>
            <a:off x="9096836"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6" name="Text Placeholder 8"/>
          <p:cNvSpPr>
            <a:spLocks noGrp="1"/>
          </p:cNvSpPr>
          <p:nvPr>
            <p:ph type="body" sz="quarter" idx="19"/>
          </p:nvPr>
        </p:nvSpPr>
        <p:spPr>
          <a:xfrm>
            <a:off x="3368279"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7" name="Text Placeholder 8"/>
          <p:cNvSpPr>
            <a:spLocks noGrp="1"/>
          </p:cNvSpPr>
          <p:nvPr>
            <p:ph type="body" sz="quarter" idx="20"/>
          </p:nvPr>
        </p:nvSpPr>
        <p:spPr>
          <a:xfrm>
            <a:off x="6232557"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355667286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a:t>Click to add title</a:t>
            </a:r>
          </a:p>
        </p:txBody>
      </p:sp>
    </p:spTree>
    <p:extLst>
      <p:ext uri="{BB962C8B-B14F-4D97-AF65-F5344CB8AC3E}">
        <p14:creationId xmlns:p14="http://schemas.microsoft.com/office/powerpoint/2010/main" val="19041821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Click to edit Master text styles</a:t>
            </a:r>
            <a:endParaRPr lang="en-GB"/>
          </a:p>
        </p:txBody>
      </p:sp>
      <p:sp>
        <p:nvSpPr>
          <p:cNvPr id="20" name="TextBox 19">
            <a:extLst>
              <a:ext uri="{FF2B5EF4-FFF2-40B4-BE49-F238E27FC236}">
                <a16:creationId xmlns:a16="http://schemas.microsoft.com/office/drawing/2014/main" id="{8988A9BB-3FEC-438B-90B8-80E505D3568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dirty="0">
              <a:solidFill>
                <a:schemeClr val="bg1"/>
              </a:solidFill>
              <a:latin typeface="Calibri" panose="020F0502020204030204" pitchFamily="34" charset="0"/>
              <a:cs typeface="Calibri" panose="020F0502020204030204" pitchFamily="34" charset="0"/>
            </a:endParaRPr>
          </a:p>
        </p:txBody>
      </p:sp>
      <p:sp>
        <p:nvSpPr>
          <p:cNvPr id="21" name="text title" descr="{&quot;templafy&quot;:{&quot;id&quot;:&quot;01357cd4-10cc-4438-aa54-6468a06223c0&quot;}}" title="Form.PresentationTitle">
            <a:extLst>
              <a:ext uri="{FF2B5EF4-FFF2-40B4-BE49-F238E27FC236}">
                <a16:creationId xmlns:a16="http://schemas.microsoft.com/office/drawing/2014/main" id="{022E4845-C813-44C1-9475-8F3AF57C965C}"/>
              </a:ext>
            </a:extLst>
          </p:cNvPr>
          <p:cNvSpPr/>
          <p:nvPr userDrawn="1"/>
        </p:nvSpPr>
        <p:spPr bwMode="gray">
          <a:xfrm>
            <a:off x="7727951" y="6476999"/>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Tompkins Wake Sharing Session</a:t>
            </a:r>
          </a:p>
        </p:txBody>
      </p:sp>
      <p:sp>
        <p:nvSpPr>
          <p:cNvPr id="22" name="text class" descr="{&quot;templafy&quot;:{&quot;id&quot;:&quot;03816e2f-cb43-4679-b217-25211e7f2226&quot;}}" title="Form.Confidential.ClassificationInsertText">
            <a:extLst>
              <a:ext uri="{FF2B5EF4-FFF2-40B4-BE49-F238E27FC236}">
                <a16:creationId xmlns:a16="http://schemas.microsoft.com/office/drawing/2014/main" id="{BCDD0062-BD5F-475E-B791-A99DFA6490C1}"/>
              </a:ext>
            </a:extLst>
          </p:cNvPr>
          <p:cNvSpPr/>
          <p:nvPr userDrawn="1"/>
        </p:nvSpPr>
        <p:spPr bwMode="gray">
          <a:xfrm>
            <a:off x="9738302" y="6476999"/>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CONFIDENTIAL</a:t>
            </a:r>
          </a:p>
        </p:txBody>
      </p:sp>
      <p:sp>
        <p:nvSpPr>
          <p:cNvPr id="23" name="Rectangle 22">
            <a:extLst>
              <a:ext uri="{FF2B5EF4-FFF2-40B4-BE49-F238E27FC236}">
                <a16:creationId xmlns:a16="http://schemas.microsoft.com/office/drawing/2014/main" id="{D2C99BD2-0177-405C-9286-6DB9DB1BF5B5}"/>
              </a:ext>
            </a:extLst>
          </p:cNvPr>
          <p:cNvSpPr/>
          <p:nvPr userDrawn="1"/>
        </p:nvSpPr>
        <p:spPr bwMode="gray">
          <a:xfrm>
            <a:off x="9680361" y="6500399"/>
            <a:ext cx="10800" cy="972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4" name="text Copyright" descr="{&quot;templafy&quot;:{&quot;id&quot;:&quot;79ea6ff0-e281-4d5e-8c90-87773b094af1&quot;}}" title="UserProfile.LegalEntity.Copyright">
            <a:extLst>
              <a:ext uri="{FF2B5EF4-FFF2-40B4-BE49-F238E27FC236}">
                <a16:creationId xmlns:a16="http://schemas.microsoft.com/office/drawing/2014/main" id="{158807BA-3917-4345-A8FF-D5F787A30B58}"/>
              </a:ext>
            </a:extLst>
          </p:cNvPr>
          <p:cNvSpPr/>
          <p:nvPr userDrawn="1"/>
        </p:nvSpPr>
        <p:spPr bwMode="gray">
          <a:xfrm>
            <a:off x="501649" y="6476999"/>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 2022. For information, contact Deloitte Touche Tohmatsu Limited.</a:t>
            </a:r>
          </a:p>
        </p:txBody>
      </p:sp>
    </p:spTree>
    <p:extLst>
      <p:ext uri="{BB962C8B-B14F-4D97-AF65-F5344CB8AC3E}">
        <p14:creationId xmlns:p14="http://schemas.microsoft.com/office/powerpoint/2010/main" val="428304399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Legal Text White">
    <p:bg>
      <p:bgPr>
        <a:solidFill>
          <a:schemeClr val="bg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DBE0613-D0C6-405A-ACD6-58EF0477427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
        <p:nvSpPr>
          <p:cNvPr id="4" name="text" descr="{&quot;templafy&quot;:{&quot;id&quot;:&quot;77bdb3f5-2cc8-4cbf-9bfc-a2dbf94b8aee&quot;}}" title="UserProfile.LegalEntity.Boilerplate_{{Form.InternalExternal.PptDynamicPrefix}}">
            <a:extLst>
              <a:ext uri="{FF2B5EF4-FFF2-40B4-BE49-F238E27FC236}">
                <a16:creationId xmlns:a16="http://schemas.microsoft.com/office/drawing/2014/main" id="{71490C82-24AA-476D-AA48-45B05331BAF6}"/>
              </a:ext>
            </a:extLst>
          </p:cNvPr>
          <p:cNvSpPr txBox="1"/>
          <p:nvPr userDrawn="1"/>
        </p:nvSpPr>
        <p:spPr>
          <a:xfrm>
            <a:off x="501652" y="1341749"/>
            <a:ext cx="8528936" cy="5040000"/>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GB" sz="900" dirty="0">
                <a:solidFill>
                  <a:schemeClr val="tx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2. For information, contact Deloitte Global.</a:t>
            </a:r>
          </a:p>
        </p:txBody>
      </p:sp>
    </p:spTree>
    <p:extLst>
      <p:ext uri="{BB962C8B-B14F-4D97-AF65-F5344CB8AC3E}">
        <p14:creationId xmlns:p14="http://schemas.microsoft.com/office/powerpoint/2010/main" val="1225459020"/>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Legal Text Black">
    <p:bg>
      <p:bgPr>
        <a:solidFill>
          <a:schemeClr val="tx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DBE0613-D0C6-405A-ACD6-58EF0477427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8" name="text" descr="{&quot;templafy&quot;:{&quot;id&quot;:&quot;32ef7adf-57e9-4dd7-bf8e-b520df13840d&quot;}}" title="UserProfile.LegalEntity.Boilerplate_{{Form.InternalExternal.PptDynamicPrefix}}">
            <a:extLst>
              <a:ext uri="{FF2B5EF4-FFF2-40B4-BE49-F238E27FC236}">
                <a16:creationId xmlns:a16="http://schemas.microsoft.com/office/drawing/2014/main" id="{428134EC-E3E1-422C-926B-53B2BC3EA4A7}"/>
              </a:ext>
            </a:extLst>
          </p:cNvPr>
          <p:cNvSpPr txBox="1"/>
          <p:nvPr userDrawn="1"/>
        </p:nvSpPr>
        <p:spPr>
          <a:xfrm>
            <a:off x="501652" y="1341749"/>
            <a:ext cx="8528936" cy="5040000"/>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GB" sz="900" dirty="0">
                <a:solidFill>
                  <a:schemeClr val="bg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2. For information, contact Deloitte Global.</a:t>
            </a:r>
          </a:p>
        </p:txBody>
      </p:sp>
    </p:spTree>
    <p:extLst>
      <p:ext uri="{BB962C8B-B14F-4D97-AF65-F5344CB8AC3E}">
        <p14:creationId xmlns:p14="http://schemas.microsoft.com/office/powerpoint/2010/main" val="171481214"/>
      </p:ext>
    </p:extLst>
  </p:cSld>
  <p:clrMapOvr>
    <a:masterClrMapping/>
  </p:clrMapOvr>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419395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AU" noProof="0"/>
              <a:t>Click to edit Master title style</a:t>
            </a:r>
            <a:endParaRPr lang="en-AU"/>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AU" noProof="0"/>
              <a:t>Click to add subtitle</a:t>
            </a:r>
            <a:endParaRPr lang="en-AU"/>
          </a:p>
        </p:txBody>
      </p:sp>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AU" noProof="0"/>
              <a:t>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p:txBody>
      </p:sp>
      <p:sp>
        <p:nvSpPr>
          <p:cNvPr id="2" name="Footer Placeholder"/>
          <p:cNvSpPr>
            <a:spLocks noGrp="1"/>
          </p:cNvSpPr>
          <p:nvPr>
            <p:ph type="ftr" sz="quarter" idx="14"/>
          </p:nvPr>
        </p:nvSpPr>
        <p:spPr/>
        <p:txBody>
          <a:bodyPr/>
          <a:lstStyle/>
          <a:p>
            <a:endParaRPr lang="en-AU" dirty="0"/>
          </a:p>
        </p:txBody>
      </p:sp>
    </p:spTree>
    <p:extLst>
      <p:ext uri="{BB962C8B-B14F-4D97-AF65-F5344CB8AC3E}">
        <p14:creationId xmlns:p14="http://schemas.microsoft.com/office/powerpoint/2010/main" val="412824075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a:t>
            </a:r>
            <a:fld id="{4A4184B5-0143-457E-906C-76BDD32DF4EA}" type="datetimeyyyy">
              <a:rPr lang="en-US" sz="900" noProof="0" smtClean="0">
                <a:solidFill>
                  <a:schemeClr val="bg1"/>
                </a:solidFill>
                <a:latin typeface="Calibri" panose="020F0502020204030204" pitchFamily="34" charset="0"/>
                <a:cs typeface="Calibri" panose="020F0502020204030204" pitchFamily="34" charset="0"/>
              </a:rPr>
              <a:t>2023</a:t>
            </a:fld>
            <a:r>
              <a:rPr lang="en-US" sz="900" noProof="0" dirty="0">
                <a:solidFill>
                  <a:schemeClr val="bg1"/>
                </a:solidFill>
                <a:latin typeface="Calibri" panose="020F0502020204030204" pitchFamily="34" charset="0"/>
                <a:cs typeface="Calibri" panose="020F0502020204030204" pitchFamily="34" charset="0"/>
              </a:rPr>
              <a:t>. For information, contact Deloitte Global</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Tree>
    <p:extLst>
      <p:ext uri="{BB962C8B-B14F-4D97-AF65-F5344CB8AC3E}">
        <p14:creationId xmlns:p14="http://schemas.microsoft.com/office/powerpoint/2010/main" val="186331854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subtitle &amp; 2 columns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4492938" cy="4622507"/>
          </a:xfrm>
          <a:prstGeom prst="rect">
            <a:avLst/>
          </a:prstGeom>
        </p:spPr>
        <p:txBody>
          <a:bodyPr/>
          <a:lstStyle>
            <a:lvl1pPr>
              <a:spcBef>
                <a:spcPts val="600"/>
              </a:spcBef>
              <a:spcAft>
                <a:spcPts val="600"/>
              </a:spcAft>
              <a:tabLst>
                <a:tab pos="6705432" algn="r"/>
              </a:tabLst>
              <a:defRPr>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5154613" y="1656000"/>
            <a:ext cx="4478337" cy="4631795"/>
          </a:xfrm>
          <a:prstGeom prst="rect">
            <a:avLst/>
          </a:prstGeom>
        </p:spPr>
        <p:txBody>
          <a:bodyPr/>
          <a:lstStyle>
            <a:lvl1pPr>
              <a:spcBef>
                <a:spcPts val="600"/>
              </a:spcBef>
              <a:spcAft>
                <a:spcPts val="600"/>
              </a:spcAft>
              <a:tabLst>
                <a:tab pos="6705432" algn="r"/>
              </a:tabLst>
              <a:defRPr>
                <a:latin typeface="Calibri Light" panose="020F0302020204030204" pitchFamily="34" charset="0"/>
                <a:cs typeface="Calibri Light" panose="020F0302020204030204" pitchFamily="34" charset="0"/>
              </a:defRPr>
            </a:lvl1pPr>
            <a:lvl2pPr>
              <a:spcBef>
                <a:spcPts val="600"/>
              </a:spcBef>
              <a:spcAft>
                <a:spcPts val="600"/>
              </a:spcAft>
              <a:tabLst>
                <a:tab pos="6705432" algn="r"/>
              </a:tabLst>
              <a:defRPr>
                <a:latin typeface="Calibri" panose="020F0502020204030204" pitchFamily="34" charset="0"/>
                <a:cs typeface="Calibri" panose="020F0502020204030204" pitchFamily="34" charset="0"/>
              </a:defRPr>
            </a:lvl2pPr>
            <a:lvl3pPr marL="18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3pPr>
            <a:lvl4pPr marL="360000" indent="-180000">
              <a:spcBef>
                <a:spcPts val="600"/>
              </a:spcBef>
              <a:spcAft>
                <a:spcPts val="600"/>
              </a:spcAft>
              <a:tabLst>
                <a:tab pos="6705432" algn="r"/>
              </a:tabLst>
              <a:defRPr>
                <a:latin typeface="Calibri Light" panose="020F0302020204030204" pitchFamily="34" charset="0"/>
                <a:cs typeface="Calibri Light" panose="020F0302020204030204" pitchFamily="34" charset="0"/>
              </a:defRPr>
            </a:lvl4pPr>
            <a:lvl5pPr marL="540000" indent="-180000">
              <a:spcBef>
                <a:spcPts val="600"/>
              </a:spcBef>
              <a:spcAft>
                <a:spcPts val="600"/>
              </a:spcAft>
              <a:buFont typeface="Arial" panose="020B0604020202020204" pitchFamily="34" charset="0"/>
              <a:buChar char="•"/>
              <a:tabLst>
                <a:tab pos="6705432" algn="r"/>
              </a:tabLst>
              <a:defRPr baseline="0">
                <a:latin typeface="Calibri Light" panose="020F0302020204030204" pitchFamily="34" charset="0"/>
                <a:cs typeface="Calibri Light" panose="020F030202020403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1" y="736688"/>
            <a:ext cx="91630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1" y="402587"/>
            <a:ext cx="916305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79191540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BE63C-B9BD-D9F3-CDBD-82CCB0A08B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NZ"/>
          </a:p>
        </p:txBody>
      </p:sp>
      <p:sp>
        <p:nvSpPr>
          <p:cNvPr id="3" name="Subtitle 2">
            <a:extLst>
              <a:ext uri="{FF2B5EF4-FFF2-40B4-BE49-F238E27FC236}">
                <a16:creationId xmlns:a16="http://schemas.microsoft.com/office/drawing/2014/main" id="{B94DD60A-5137-F554-A743-34441301CA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NZ"/>
          </a:p>
        </p:txBody>
      </p:sp>
      <p:sp>
        <p:nvSpPr>
          <p:cNvPr id="4" name="Date Placeholder 3">
            <a:extLst>
              <a:ext uri="{FF2B5EF4-FFF2-40B4-BE49-F238E27FC236}">
                <a16:creationId xmlns:a16="http://schemas.microsoft.com/office/drawing/2014/main" id="{A08214E7-4352-BFEA-B22B-587993082D97}"/>
              </a:ext>
            </a:extLst>
          </p:cNvPr>
          <p:cNvSpPr>
            <a:spLocks noGrp="1"/>
          </p:cNvSpPr>
          <p:nvPr>
            <p:ph type="dt" sz="half" idx="10"/>
          </p:nvPr>
        </p:nvSpPr>
        <p:spPr/>
        <p:txBody>
          <a:bodyPr/>
          <a:lstStyle/>
          <a:p>
            <a:fld id="{ED154FFB-A72F-44A7-8D57-5AB32CBF8E8B}" type="datetimeFigureOut">
              <a:rPr lang="en-NZ" smtClean="0"/>
              <a:t>25/07/2023</a:t>
            </a:fld>
            <a:endParaRPr lang="en-NZ" dirty="0"/>
          </a:p>
        </p:txBody>
      </p:sp>
      <p:sp>
        <p:nvSpPr>
          <p:cNvPr id="5" name="Footer Placeholder 4">
            <a:extLst>
              <a:ext uri="{FF2B5EF4-FFF2-40B4-BE49-F238E27FC236}">
                <a16:creationId xmlns:a16="http://schemas.microsoft.com/office/drawing/2014/main" id="{8209DB6A-B141-072B-E6C7-E5770471D4D0}"/>
              </a:ext>
            </a:extLst>
          </p:cNvPr>
          <p:cNvSpPr>
            <a:spLocks noGrp="1"/>
          </p:cNvSpPr>
          <p:nvPr>
            <p:ph type="ftr" sz="quarter" idx="11"/>
          </p:nvPr>
        </p:nvSpPr>
        <p:spPr/>
        <p:txBody>
          <a:bodyPr/>
          <a:lstStyle/>
          <a:p>
            <a:endParaRPr lang="en-NZ" dirty="0"/>
          </a:p>
        </p:txBody>
      </p:sp>
      <p:sp>
        <p:nvSpPr>
          <p:cNvPr id="6" name="Slide Number Placeholder 5">
            <a:extLst>
              <a:ext uri="{FF2B5EF4-FFF2-40B4-BE49-F238E27FC236}">
                <a16:creationId xmlns:a16="http://schemas.microsoft.com/office/drawing/2014/main" id="{619160D8-60AB-0106-476F-751825F26732}"/>
              </a:ext>
            </a:extLst>
          </p:cNvPr>
          <p:cNvSpPr>
            <a:spLocks noGrp="1"/>
          </p:cNvSpPr>
          <p:nvPr>
            <p:ph type="sldNum" sz="quarter" idx="12"/>
          </p:nvPr>
        </p:nvSpPr>
        <p:spPr/>
        <p:txBody>
          <a:bodyPr/>
          <a:lstStyle/>
          <a:p>
            <a:fld id="{1CAF9537-8698-41F3-952B-B1F47C86E1D9}" type="slidenum">
              <a:rPr lang="en-NZ" smtClean="0"/>
              <a:t>‹#›</a:t>
            </a:fld>
            <a:endParaRPr lang="en-NZ" dirty="0"/>
          </a:p>
        </p:txBody>
      </p:sp>
    </p:spTree>
    <p:extLst>
      <p:ext uri="{BB962C8B-B14F-4D97-AF65-F5344CB8AC3E}">
        <p14:creationId xmlns:p14="http://schemas.microsoft.com/office/powerpoint/2010/main" val="2135524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8FAAA-FFCD-F318-68D1-21FB4B9EBF63}"/>
              </a:ext>
            </a:extLst>
          </p:cNvPr>
          <p:cNvSpPr>
            <a:spLocks noGrp="1"/>
          </p:cNvSpPr>
          <p:nvPr>
            <p:ph type="title"/>
          </p:nvPr>
        </p:nvSpPr>
        <p:spPr/>
        <p:txBody>
          <a:bodyPr/>
          <a:lstStyle/>
          <a:p>
            <a:r>
              <a:rPr lang="en-US"/>
              <a:t>Click to edit Master title style</a:t>
            </a:r>
            <a:endParaRPr lang="en-NZ"/>
          </a:p>
        </p:txBody>
      </p:sp>
      <p:sp>
        <p:nvSpPr>
          <p:cNvPr id="3" name="Content Placeholder 2">
            <a:extLst>
              <a:ext uri="{FF2B5EF4-FFF2-40B4-BE49-F238E27FC236}">
                <a16:creationId xmlns:a16="http://schemas.microsoft.com/office/drawing/2014/main" id="{48A515FE-B179-DE02-2B0B-3BA7CBDE2C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Date Placeholder 3">
            <a:extLst>
              <a:ext uri="{FF2B5EF4-FFF2-40B4-BE49-F238E27FC236}">
                <a16:creationId xmlns:a16="http://schemas.microsoft.com/office/drawing/2014/main" id="{5B945BBA-37CE-17A2-8606-83EC6EC9E94A}"/>
              </a:ext>
            </a:extLst>
          </p:cNvPr>
          <p:cNvSpPr>
            <a:spLocks noGrp="1"/>
          </p:cNvSpPr>
          <p:nvPr>
            <p:ph type="dt" sz="half" idx="10"/>
          </p:nvPr>
        </p:nvSpPr>
        <p:spPr/>
        <p:txBody>
          <a:bodyPr/>
          <a:lstStyle/>
          <a:p>
            <a:fld id="{ED154FFB-A72F-44A7-8D57-5AB32CBF8E8B}" type="datetimeFigureOut">
              <a:rPr lang="en-NZ" smtClean="0"/>
              <a:t>25/07/2023</a:t>
            </a:fld>
            <a:endParaRPr lang="en-NZ" dirty="0"/>
          </a:p>
        </p:txBody>
      </p:sp>
      <p:sp>
        <p:nvSpPr>
          <p:cNvPr id="5" name="Footer Placeholder 4">
            <a:extLst>
              <a:ext uri="{FF2B5EF4-FFF2-40B4-BE49-F238E27FC236}">
                <a16:creationId xmlns:a16="http://schemas.microsoft.com/office/drawing/2014/main" id="{6907FB70-08FA-D58F-DB7B-53574E03CC79}"/>
              </a:ext>
            </a:extLst>
          </p:cNvPr>
          <p:cNvSpPr>
            <a:spLocks noGrp="1"/>
          </p:cNvSpPr>
          <p:nvPr>
            <p:ph type="ftr" sz="quarter" idx="11"/>
          </p:nvPr>
        </p:nvSpPr>
        <p:spPr/>
        <p:txBody>
          <a:bodyPr/>
          <a:lstStyle/>
          <a:p>
            <a:endParaRPr lang="en-NZ" dirty="0"/>
          </a:p>
        </p:txBody>
      </p:sp>
      <p:sp>
        <p:nvSpPr>
          <p:cNvPr id="6" name="Slide Number Placeholder 5">
            <a:extLst>
              <a:ext uri="{FF2B5EF4-FFF2-40B4-BE49-F238E27FC236}">
                <a16:creationId xmlns:a16="http://schemas.microsoft.com/office/drawing/2014/main" id="{4E3A3CE9-F79A-AE3C-ACCB-4AFC8792B3CC}"/>
              </a:ext>
            </a:extLst>
          </p:cNvPr>
          <p:cNvSpPr>
            <a:spLocks noGrp="1"/>
          </p:cNvSpPr>
          <p:nvPr>
            <p:ph type="sldNum" sz="quarter" idx="12"/>
          </p:nvPr>
        </p:nvSpPr>
        <p:spPr/>
        <p:txBody>
          <a:bodyPr/>
          <a:lstStyle/>
          <a:p>
            <a:fld id="{1CAF9537-8698-41F3-952B-B1F47C86E1D9}" type="slidenum">
              <a:rPr lang="en-NZ" smtClean="0"/>
              <a:t>‹#›</a:t>
            </a:fld>
            <a:endParaRPr lang="en-NZ" dirty="0"/>
          </a:p>
        </p:txBody>
      </p:sp>
    </p:spTree>
    <p:extLst>
      <p:ext uri="{BB962C8B-B14F-4D97-AF65-F5344CB8AC3E}">
        <p14:creationId xmlns:p14="http://schemas.microsoft.com/office/powerpoint/2010/main" val="37632260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5E216-FCE6-081F-BA06-DF168B3C28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NZ"/>
          </a:p>
        </p:txBody>
      </p:sp>
      <p:sp>
        <p:nvSpPr>
          <p:cNvPr id="3" name="Text Placeholder 2">
            <a:extLst>
              <a:ext uri="{FF2B5EF4-FFF2-40B4-BE49-F238E27FC236}">
                <a16:creationId xmlns:a16="http://schemas.microsoft.com/office/drawing/2014/main" id="{255D700C-CB5F-418C-DA43-BA00F4801BE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DB4265D-D0AE-4488-329B-A14E59FA2BCB}"/>
              </a:ext>
            </a:extLst>
          </p:cNvPr>
          <p:cNvSpPr>
            <a:spLocks noGrp="1"/>
          </p:cNvSpPr>
          <p:nvPr>
            <p:ph type="dt" sz="half" idx="10"/>
          </p:nvPr>
        </p:nvSpPr>
        <p:spPr/>
        <p:txBody>
          <a:bodyPr/>
          <a:lstStyle/>
          <a:p>
            <a:fld id="{ED154FFB-A72F-44A7-8D57-5AB32CBF8E8B}" type="datetimeFigureOut">
              <a:rPr lang="en-NZ" smtClean="0"/>
              <a:t>25/07/2023</a:t>
            </a:fld>
            <a:endParaRPr lang="en-NZ" dirty="0"/>
          </a:p>
        </p:txBody>
      </p:sp>
      <p:sp>
        <p:nvSpPr>
          <p:cNvPr id="5" name="Footer Placeholder 4">
            <a:extLst>
              <a:ext uri="{FF2B5EF4-FFF2-40B4-BE49-F238E27FC236}">
                <a16:creationId xmlns:a16="http://schemas.microsoft.com/office/drawing/2014/main" id="{122C718C-2D48-6314-A161-B5F6683EB28B}"/>
              </a:ext>
            </a:extLst>
          </p:cNvPr>
          <p:cNvSpPr>
            <a:spLocks noGrp="1"/>
          </p:cNvSpPr>
          <p:nvPr>
            <p:ph type="ftr" sz="quarter" idx="11"/>
          </p:nvPr>
        </p:nvSpPr>
        <p:spPr/>
        <p:txBody>
          <a:bodyPr/>
          <a:lstStyle/>
          <a:p>
            <a:endParaRPr lang="en-NZ" dirty="0"/>
          </a:p>
        </p:txBody>
      </p:sp>
      <p:sp>
        <p:nvSpPr>
          <p:cNvPr id="6" name="Slide Number Placeholder 5">
            <a:extLst>
              <a:ext uri="{FF2B5EF4-FFF2-40B4-BE49-F238E27FC236}">
                <a16:creationId xmlns:a16="http://schemas.microsoft.com/office/drawing/2014/main" id="{4F1D7C97-DE8C-564E-0B40-407765012C7F}"/>
              </a:ext>
            </a:extLst>
          </p:cNvPr>
          <p:cNvSpPr>
            <a:spLocks noGrp="1"/>
          </p:cNvSpPr>
          <p:nvPr>
            <p:ph type="sldNum" sz="quarter" idx="12"/>
          </p:nvPr>
        </p:nvSpPr>
        <p:spPr/>
        <p:txBody>
          <a:bodyPr/>
          <a:lstStyle/>
          <a:p>
            <a:fld id="{1CAF9537-8698-41F3-952B-B1F47C86E1D9}" type="slidenum">
              <a:rPr lang="en-NZ" smtClean="0"/>
              <a:t>‹#›</a:t>
            </a:fld>
            <a:endParaRPr lang="en-NZ" dirty="0"/>
          </a:p>
        </p:txBody>
      </p:sp>
    </p:spTree>
    <p:extLst>
      <p:ext uri="{BB962C8B-B14F-4D97-AF65-F5344CB8AC3E}">
        <p14:creationId xmlns:p14="http://schemas.microsoft.com/office/powerpoint/2010/main" val="31303122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D9A90-0533-7693-D05F-433A852C47F0}"/>
              </a:ext>
            </a:extLst>
          </p:cNvPr>
          <p:cNvSpPr>
            <a:spLocks noGrp="1"/>
          </p:cNvSpPr>
          <p:nvPr>
            <p:ph type="title"/>
          </p:nvPr>
        </p:nvSpPr>
        <p:spPr/>
        <p:txBody>
          <a:bodyPr/>
          <a:lstStyle/>
          <a:p>
            <a:r>
              <a:rPr lang="en-US"/>
              <a:t>Click to edit Master title style</a:t>
            </a:r>
            <a:endParaRPr lang="en-NZ"/>
          </a:p>
        </p:txBody>
      </p:sp>
      <p:sp>
        <p:nvSpPr>
          <p:cNvPr id="3" name="Content Placeholder 2">
            <a:extLst>
              <a:ext uri="{FF2B5EF4-FFF2-40B4-BE49-F238E27FC236}">
                <a16:creationId xmlns:a16="http://schemas.microsoft.com/office/drawing/2014/main" id="{983C30D2-1DF1-BBFC-FEF6-35CB37EDEF3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Content Placeholder 3">
            <a:extLst>
              <a:ext uri="{FF2B5EF4-FFF2-40B4-BE49-F238E27FC236}">
                <a16:creationId xmlns:a16="http://schemas.microsoft.com/office/drawing/2014/main" id="{8DCC824D-CBB0-6C6D-641C-E6605C8C833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5" name="Date Placeholder 4">
            <a:extLst>
              <a:ext uri="{FF2B5EF4-FFF2-40B4-BE49-F238E27FC236}">
                <a16:creationId xmlns:a16="http://schemas.microsoft.com/office/drawing/2014/main" id="{8CC7F269-805E-F2D8-0C53-BCFD54505EFB}"/>
              </a:ext>
            </a:extLst>
          </p:cNvPr>
          <p:cNvSpPr>
            <a:spLocks noGrp="1"/>
          </p:cNvSpPr>
          <p:nvPr>
            <p:ph type="dt" sz="half" idx="10"/>
          </p:nvPr>
        </p:nvSpPr>
        <p:spPr/>
        <p:txBody>
          <a:bodyPr/>
          <a:lstStyle/>
          <a:p>
            <a:fld id="{ED154FFB-A72F-44A7-8D57-5AB32CBF8E8B}" type="datetimeFigureOut">
              <a:rPr lang="en-NZ" smtClean="0"/>
              <a:t>25/07/2023</a:t>
            </a:fld>
            <a:endParaRPr lang="en-NZ" dirty="0"/>
          </a:p>
        </p:txBody>
      </p:sp>
      <p:sp>
        <p:nvSpPr>
          <p:cNvPr id="6" name="Footer Placeholder 5">
            <a:extLst>
              <a:ext uri="{FF2B5EF4-FFF2-40B4-BE49-F238E27FC236}">
                <a16:creationId xmlns:a16="http://schemas.microsoft.com/office/drawing/2014/main" id="{A500C8E3-D4C0-7427-8DB0-3ADAEBAE870C}"/>
              </a:ext>
            </a:extLst>
          </p:cNvPr>
          <p:cNvSpPr>
            <a:spLocks noGrp="1"/>
          </p:cNvSpPr>
          <p:nvPr>
            <p:ph type="ftr" sz="quarter" idx="11"/>
          </p:nvPr>
        </p:nvSpPr>
        <p:spPr/>
        <p:txBody>
          <a:bodyPr/>
          <a:lstStyle/>
          <a:p>
            <a:endParaRPr lang="en-NZ" dirty="0"/>
          </a:p>
        </p:txBody>
      </p:sp>
      <p:sp>
        <p:nvSpPr>
          <p:cNvPr id="7" name="Slide Number Placeholder 6">
            <a:extLst>
              <a:ext uri="{FF2B5EF4-FFF2-40B4-BE49-F238E27FC236}">
                <a16:creationId xmlns:a16="http://schemas.microsoft.com/office/drawing/2014/main" id="{AD571C07-A44F-6D20-F10F-03CA8AC35065}"/>
              </a:ext>
            </a:extLst>
          </p:cNvPr>
          <p:cNvSpPr>
            <a:spLocks noGrp="1"/>
          </p:cNvSpPr>
          <p:nvPr>
            <p:ph type="sldNum" sz="quarter" idx="12"/>
          </p:nvPr>
        </p:nvSpPr>
        <p:spPr/>
        <p:txBody>
          <a:bodyPr/>
          <a:lstStyle/>
          <a:p>
            <a:fld id="{1CAF9537-8698-41F3-952B-B1F47C86E1D9}" type="slidenum">
              <a:rPr lang="en-NZ" smtClean="0"/>
              <a:t>‹#›</a:t>
            </a:fld>
            <a:endParaRPr lang="en-NZ" dirty="0"/>
          </a:p>
        </p:txBody>
      </p:sp>
    </p:spTree>
    <p:extLst>
      <p:ext uri="{BB962C8B-B14F-4D97-AF65-F5344CB8AC3E}">
        <p14:creationId xmlns:p14="http://schemas.microsoft.com/office/powerpoint/2010/main" val="41674316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Click to edit Master text styles</a:t>
            </a:r>
            <a:endParaRPr lang="en-GB"/>
          </a:p>
        </p:txBody>
      </p:sp>
      <p:sp>
        <p:nvSpPr>
          <p:cNvPr id="20" name="TextBox 19">
            <a:extLst>
              <a:ext uri="{FF2B5EF4-FFF2-40B4-BE49-F238E27FC236}">
                <a16:creationId xmlns:a16="http://schemas.microsoft.com/office/drawing/2014/main" id="{89B6D85D-163B-47A7-98C4-60E12974EDC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dirty="0">
              <a:solidFill>
                <a:schemeClr val="bg1"/>
              </a:solidFill>
              <a:latin typeface="Calibri" panose="020F0502020204030204" pitchFamily="34" charset="0"/>
              <a:cs typeface="Calibri" panose="020F0502020204030204" pitchFamily="34" charset="0"/>
            </a:endParaRPr>
          </a:p>
        </p:txBody>
      </p:sp>
      <p:sp>
        <p:nvSpPr>
          <p:cNvPr id="21" name="text title" descr="{&quot;templafy&quot;:{&quot;id&quot;:&quot;e546780a-3ae2-49a7-aea1-d1335c667d62&quot;}}" title="Form.PresentationTitle">
            <a:extLst>
              <a:ext uri="{FF2B5EF4-FFF2-40B4-BE49-F238E27FC236}">
                <a16:creationId xmlns:a16="http://schemas.microsoft.com/office/drawing/2014/main" id="{EB3BDF35-8114-4248-8EB1-D9162237D5E3}"/>
              </a:ext>
            </a:extLst>
          </p:cNvPr>
          <p:cNvSpPr/>
          <p:nvPr userDrawn="1"/>
        </p:nvSpPr>
        <p:spPr bwMode="gray">
          <a:xfrm>
            <a:off x="7727951" y="6476999"/>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Tompkins Wake Sharing Session</a:t>
            </a:r>
          </a:p>
        </p:txBody>
      </p:sp>
      <p:sp>
        <p:nvSpPr>
          <p:cNvPr id="22" name="text class" descr="{&quot;templafy&quot;:{&quot;id&quot;:&quot;fc53c90e-daaf-4310-9df6-23afe254aee6&quot;}}" title="Form.Confidential.ClassificationInsertText">
            <a:extLst>
              <a:ext uri="{FF2B5EF4-FFF2-40B4-BE49-F238E27FC236}">
                <a16:creationId xmlns:a16="http://schemas.microsoft.com/office/drawing/2014/main" id="{153C0BCF-278B-4D14-BAE5-74E4479EE09A}"/>
              </a:ext>
            </a:extLst>
          </p:cNvPr>
          <p:cNvSpPr/>
          <p:nvPr userDrawn="1"/>
        </p:nvSpPr>
        <p:spPr bwMode="gray">
          <a:xfrm>
            <a:off x="9738302" y="6476999"/>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CONFIDENTIAL</a:t>
            </a:r>
          </a:p>
        </p:txBody>
      </p:sp>
      <p:sp>
        <p:nvSpPr>
          <p:cNvPr id="23" name="Rectangle 22">
            <a:extLst>
              <a:ext uri="{FF2B5EF4-FFF2-40B4-BE49-F238E27FC236}">
                <a16:creationId xmlns:a16="http://schemas.microsoft.com/office/drawing/2014/main" id="{D30CE9D5-DEF9-48FB-82A7-E6BD6F8B971D}"/>
              </a:ext>
            </a:extLst>
          </p:cNvPr>
          <p:cNvSpPr/>
          <p:nvPr userDrawn="1"/>
        </p:nvSpPr>
        <p:spPr bwMode="gray">
          <a:xfrm>
            <a:off x="9680361" y="6500399"/>
            <a:ext cx="10800" cy="972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4" name="text Copyright" descr="{&quot;templafy&quot;:{&quot;id&quot;:&quot;e2b677be-85a9-4dd8-943b-72e6d865780b&quot;}}" title="UserProfile.LegalEntity.Copyright">
            <a:extLst>
              <a:ext uri="{FF2B5EF4-FFF2-40B4-BE49-F238E27FC236}">
                <a16:creationId xmlns:a16="http://schemas.microsoft.com/office/drawing/2014/main" id="{14739CE8-D983-4E07-B898-6BFBB996764C}"/>
              </a:ext>
            </a:extLst>
          </p:cNvPr>
          <p:cNvSpPr/>
          <p:nvPr userDrawn="1"/>
        </p:nvSpPr>
        <p:spPr bwMode="gray">
          <a:xfrm>
            <a:off x="501649" y="6476999"/>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 2022. For information, contact Deloitte Touche Tohmatsu Limited.</a:t>
            </a:r>
          </a:p>
        </p:txBody>
      </p:sp>
    </p:spTree>
    <p:extLst>
      <p:ext uri="{BB962C8B-B14F-4D97-AF65-F5344CB8AC3E}">
        <p14:creationId xmlns:p14="http://schemas.microsoft.com/office/powerpoint/2010/main" val="40069324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B4AD7-6FFD-4212-AAED-DE4167197FED}"/>
              </a:ext>
            </a:extLst>
          </p:cNvPr>
          <p:cNvSpPr>
            <a:spLocks noGrp="1"/>
          </p:cNvSpPr>
          <p:nvPr>
            <p:ph type="title"/>
          </p:nvPr>
        </p:nvSpPr>
        <p:spPr>
          <a:xfrm>
            <a:off x="839788" y="365125"/>
            <a:ext cx="10515600" cy="1325563"/>
          </a:xfrm>
        </p:spPr>
        <p:txBody>
          <a:bodyPr/>
          <a:lstStyle/>
          <a:p>
            <a:r>
              <a:rPr lang="en-US"/>
              <a:t>Click to edit Master title style</a:t>
            </a:r>
            <a:endParaRPr lang="en-NZ"/>
          </a:p>
        </p:txBody>
      </p:sp>
      <p:sp>
        <p:nvSpPr>
          <p:cNvPr id="3" name="Text Placeholder 2">
            <a:extLst>
              <a:ext uri="{FF2B5EF4-FFF2-40B4-BE49-F238E27FC236}">
                <a16:creationId xmlns:a16="http://schemas.microsoft.com/office/drawing/2014/main" id="{B43FAAAC-7A23-7DF4-934B-1ED7154699B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295C8D0-B2C5-155F-F912-05ABD1FB45B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5" name="Text Placeholder 4">
            <a:extLst>
              <a:ext uri="{FF2B5EF4-FFF2-40B4-BE49-F238E27FC236}">
                <a16:creationId xmlns:a16="http://schemas.microsoft.com/office/drawing/2014/main" id="{FC833C28-19CB-6921-203E-D42101E4C21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2DF464-1E77-1BFB-0621-9C6F447CAC6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7" name="Date Placeholder 6">
            <a:extLst>
              <a:ext uri="{FF2B5EF4-FFF2-40B4-BE49-F238E27FC236}">
                <a16:creationId xmlns:a16="http://schemas.microsoft.com/office/drawing/2014/main" id="{94E3B816-F459-5C83-14B4-D01B89458180}"/>
              </a:ext>
            </a:extLst>
          </p:cNvPr>
          <p:cNvSpPr>
            <a:spLocks noGrp="1"/>
          </p:cNvSpPr>
          <p:nvPr>
            <p:ph type="dt" sz="half" idx="10"/>
          </p:nvPr>
        </p:nvSpPr>
        <p:spPr/>
        <p:txBody>
          <a:bodyPr/>
          <a:lstStyle/>
          <a:p>
            <a:fld id="{ED154FFB-A72F-44A7-8D57-5AB32CBF8E8B}" type="datetimeFigureOut">
              <a:rPr lang="en-NZ" smtClean="0"/>
              <a:t>25/07/2023</a:t>
            </a:fld>
            <a:endParaRPr lang="en-NZ" dirty="0"/>
          </a:p>
        </p:txBody>
      </p:sp>
      <p:sp>
        <p:nvSpPr>
          <p:cNvPr id="8" name="Footer Placeholder 7">
            <a:extLst>
              <a:ext uri="{FF2B5EF4-FFF2-40B4-BE49-F238E27FC236}">
                <a16:creationId xmlns:a16="http://schemas.microsoft.com/office/drawing/2014/main" id="{2D07E8D8-7D2C-85E0-BFA5-4056A65DF7EA}"/>
              </a:ext>
            </a:extLst>
          </p:cNvPr>
          <p:cNvSpPr>
            <a:spLocks noGrp="1"/>
          </p:cNvSpPr>
          <p:nvPr>
            <p:ph type="ftr" sz="quarter" idx="11"/>
          </p:nvPr>
        </p:nvSpPr>
        <p:spPr/>
        <p:txBody>
          <a:bodyPr/>
          <a:lstStyle/>
          <a:p>
            <a:endParaRPr lang="en-NZ" dirty="0"/>
          </a:p>
        </p:txBody>
      </p:sp>
      <p:sp>
        <p:nvSpPr>
          <p:cNvPr id="9" name="Slide Number Placeholder 8">
            <a:extLst>
              <a:ext uri="{FF2B5EF4-FFF2-40B4-BE49-F238E27FC236}">
                <a16:creationId xmlns:a16="http://schemas.microsoft.com/office/drawing/2014/main" id="{E0C8D500-0CFD-F60F-08F8-38123C34B176}"/>
              </a:ext>
            </a:extLst>
          </p:cNvPr>
          <p:cNvSpPr>
            <a:spLocks noGrp="1"/>
          </p:cNvSpPr>
          <p:nvPr>
            <p:ph type="sldNum" sz="quarter" idx="12"/>
          </p:nvPr>
        </p:nvSpPr>
        <p:spPr/>
        <p:txBody>
          <a:bodyPr/>
          <a:lstStyle/>
          <a:p>
            <a:fld id="{1CAF9537-8698-41F3-952B-B1F47C86E1D9}" type="slidenum">
              <a:rPr lang="en-NZ" smtClean="0"/>
              <a:t>‹#›</a:t>
            </a:fld>
            <a:endParaRPr lang="en-NZ" dirty="0"/>
          </a:p>
        </p:txBody>
      </p:sp>
    </p:spTree>
    <p:extLst>
      <p:ext uri="{BB962C8B-B14F-4D97-AF65-F5344CB8AC3E}">
        <p14:creationId xmlns:p14="http://schemas.microsoft.com/office/powerpoint/2010/main" val="10024581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868885-D87F-CE55-DE6A-78E10A29A940}"/>
              </a:ext>
            </a:extLst>
          </p:cNvPr>
          <p:cNvSpPr>
            <a:spLocks noGrp="1"/>
          </p:cNvSpPr>
          <p:nvPr>
            <p:ph type="title"/>
          </p:nvPr>
        </p:nvSpPr>
        <p:spPr/>
        <p:txBody>
          <a:bodyPr/>
          <a:lstStyle/>
          <a:p>
            <a:r>
              <a:rPr lang="en-US"/>
              <a:t>Click to edit Master title style</a:t>
            </a:r>
            <a:endParaRPr lang="en-NZ"/>
          </a:p>
        </p:txBody>
      </p:sp>
      <p:sp>
        <p:nvSpPr>
          <p:cNvPr id="3" name="Date Placeholder 2">
            <a:extLst>
              <a:ext uri="{FF2B5EF4-FFF2-40B4-BE49-F238E27FC236}">
                <a16:creationId xmlns:a16="http://schemas.microsoft.com/office/drawing/2014/main" id="{8D92E3D2-094A-FF70-E395-2407238CB324}"/>
              </a:ext>
            </a:extLst>
          </p:cNvPr>
          <p:cNvSpPr>
            <a:spLocks noGrp="1"/>
          </p:cNvSpPr>
          <p:nvPr>
            <p:ph type="dt" sz="half" idx="10"/>
          </p:nvPr>
        </p:nvSpPr>
        <p:spPr/>
        <p:txBody>
          <a:bodyPr/>
          <a:lstStyle/>
          <a:p>
            <a:fld id="{ED154FFB-A72F-44A7-8D57-5AB32CBF8E8B}" type="datetimeFigureOut">
              <a:rPr lang="en-NZ" smtClean="0"/>
              <a:t>25/07/2023</a:t>
            </a:fld>
            <a:endParaRPr lang="en-NZ" dirty="0"/>
          </a:p>
        </p:txBody>
      </p:sp>
      <p:sp>
        <p:nvSpPr>
          <p:cNvPr id="4" name="Footer Placeholder 3">
            <a:extLst>
              <a:ext uri="{FF2B5EF4-FFF2-40B4-BE49-F238E27FC236}">
                <a16:creationId xmlns:a16="http://schemas.microsoft.com/office/drawing/2014/main" id="{EB3DB359-D4FD-9F7F-BF3E-ECE00BFB6791}"/>
              </a:ext>
            </a:extLst>
          </p:cNvPr>
          <p:cNvSpPr>
            <a:spLocks noGrp="1"/>
          </p:cNvSpPr>
          <p:nvPr>
            <p:ph type="ftr" sz="quarter" idx="11"/>
          </p:nvPr>
        </p:nvSpPr>
        <p:spPr/>
        <p:txBody>
          <a:bodyPr/>
          <a:lstStyle/>
          <a:p>
            <a:endParaRPr lang="en-NZ" dirty="0"/>
          </a:p>
        </p:txBody>
      </p:sp>
      <p:sp>
        <p:nvSpPr>
          <p:cNvPr id="5" name="Slide Number Placeholder 4">
            <a:extLst>
              <a:ext uri="{FF2B5EF4-FFF2-40B4-BE49-F238E27FC236}">
                <a16:creationId xmlns:a16="http://schemas.microsoft.com/office/drawing/2014/main" id="{7EF70030-1498-9C06-5561-B2EA0C816B98}"/>
              </a:ext>
            </a:extLst>
          </p:cNvPr>
          <p:cNvSpPr>
            <a:spLocks noGrp="1"/>
          </p:cNvSpPr>
          <p:nvPr>
            <p:ph type="sldNum" sz="quarter" idx="12"/>
          </p:nvPr>
        </p:nvSpPr>
        <p:spPr/>
        <p:txBody>
          <a:bodyPr/>
          <a:lstStyle/>
          <a:p>
            <a:fld id="{1CAF9537-8698-41F3-952B-B1F47C86E1D9}" type="slidenum">
              <a:rPr lang="en-NZ" smtClean="0"/>
              <a:t>‹#›</a:t>
            </a:fld>
            <a:endParaRPr lang="en-NZ" dirty="0"/>
          </a:p>
        </p:txBody>
      </p:sp>
    </p:spTree>
    <p:extLst>
      <p:ext uri="{BB962C8B-B14F-4D97-AF65-F5344CB8AC3E}">
        <p14:creationId xmlns:p14="http://schemas.microsoft.com/office/powerpoint/2010/main" val="11378326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203484-5722-EED4-C527-003C15E56B28}"/>
              </a:ext>
            </a:extLst>
          </p:cNvPr>
          <p:cNvSpPr>
            <a:spLocks noGrp="1"/>
          </p:cNvSpPr>
          <p:nvPr>
            <p:ph type="dt" sz="half" idx="10"/>
          </p:nvPr>
        </p:nvSpPr>
        <p:spPr/>
        <p:txBody>
          <a:bodyPr/>
          <a:lstStyle/>
          <a:p>
            <a:fld id="{ED154FFB-A72F-44A7-8D57-5AB32CBF8E8B}" type="datetimeFigureOut">
              <a:rPr lang="en-NZ" smtClean="0"/>
              <a:t>25/07/2023</a:t>
            </a:fld>
            <a:endParaRPr lang="en-NZ" dirty="0"/>
          </a:p>
        </p:txBody>
      </p:sp>
      <p:sp>
        <p:nvSpPr>
          <p:cNvPr id="3" name="Footer Placeholder 2">
            <a:extLst>
              <a:ext uri="{FF2B5EF4-FFF2-40B4-BE49-F238E27FC236}">
                <a16:creationId xmlns:a16="http://schemas.microsoft.com/office/drawing/2014/main" id="{E8982595-234B-96C3-F893-F4F3E32E1AC9}"/>
              </a:ext>
            </a:extLst>
          </p:cNvPr>
          <p:cNvSpPr>
            <a:spLocks noGrp="1"/>
          </p:cNvSpPr>
          <p:nvPr>
            <p:ph type="ftr" sz="quarter" idx="11"/>
          </p:nvPr>
        </p:nvSpPr>
        <p:spPr/>
        <p:txBody>
          <a:bodyPr/>
          <a:lstStyle/>
          <a:p>
            <a:endParaRPr lang="en-NZ" dirty="0"/>
          </a:p>
        </p:txBody>
      </p:sp>
      <p:sp>
        <p:nvSpPr>
          <p:cNvPr id="4" name="Slide Number Placeholder 3">
            <a:extLst>
              <a:ext uri="{FF2B5EF4-FFF2-40B4-BE49-F238E27FC236}">
                <a16:creationId xmlns:a16="http://schemas.microsoft.com/office/drawing/2014/main" id="{08EE7ABC-8E23-6E24-0FD1-3B25AAB5FD72}"/>
              </a:ext>
            </a:extLst>
          </p:cNvPr>
          <p:cNvSpPr>
            <a:spLocks noGrp="1"/>
          </p:cNvSpPr>
          <p:nvPr>
            <p:ph type="sldNum" sz="quarter" idx="12"/>
          </p:nvPr>
        </p:nvSpPr>
        <p:spPr/>
        <p:txBody>
          <a:bodyPr/>
          <a:lstStyle/>
          <a:p>
            <a:fld id="{1CAF9537-8698-41F3-952B-B1F47C86E1D9}" type="slidenum">
              <a:rPr lang="en-NZ" smtClean="0"/>
              <a:t>‹#›</a:t>
            </a:fld>
            <a:endParaRPr lang="en-NZ" dirty="0"/>
          </a:p>
        </p:txBody>
      </p:sp>
    </p:spTree>
    <p:extLst>
      <p:ext uri="{BB962C8B-B14F-4D97-AF65-F5344CB8AC3E}">
        <p14:creationId xmlns:p14="http://schemas.microsoft.com/office/powerpoint/2010/main" val="21090338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DB2C9-898A-4FAA-6050-9A80BBC9B08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Z"/>
          </a:p>
        </p:txBody>
      </p:sp>
      <p:sp>
        <p:nvSpPr>
          <p:cNvPr id="3" name="Content Placeholder 2">
            <a:extLst>
              <a:ext uri="{FF2B5EF4-FFF2-40B4-BE49-F238E27FC236}">
                <a16:creationId xmlns:a16="http://schemas.microsoft.com/office/drawing/2014/main" id="{F241578D-466C-EDF7-6F38-AF8CDD2C51F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Text Placeholder 3">
            <a:extLst>
              <a:ext uri="{FF2B5EF4-FFF2-40B4-BE49-F238E27FC236}">
                <a16:creationId xmlns:a16="http://schemas.microsoft.com/office/drawing/2014/main" id="{7F92629D-217A-93FE-A1C4-904DCEFD2E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3BEDF74-BD1F-F8DD-C37C-785F29DA0DA3}"/>
              </a:ext>
            </a:extLst>
          </p:cNvPr>
          <p:cNvSpPr>
            <a:spLocks noGrp="1"/>
          </p:cNvSpPr>
          <p:nvPr>
            <p:ph type="dt" sz="half" idx="10"/>
          </p:nvPr>
        </p:nvSpPr>
        <p:spPr/>
        <p:txBody>
          <a:bodyPr/>
          <a:lstStyle/>
          <a:p>
            <a:fld id="{ED154FFB-A72F-44A7-8D57-5AB32CBF8E8B}" type="datetimeFigureOut">
              <a:rPr lang="en-NZ" smtClean="0"/>
              <a:t>25/07/2023</a:t>
            </a:fld>
            <a:endParaRPr lang="en-NZ" dirty="0"/>
          </a:p>
        </p:txBody>
      </p:sp>
      <p:sp>
        <p:nvSpPr>
          <p:cNvPr id="6" name="Footer Placeholder 5">
            <a:extLst>
              <a:ext uri="{FF2B5EF4-FFF2-40B4-BE49-F238E27FC236}">
                <a16:creationId xmlns:a16="http://schemas.microsoft.com/office/drawing/2014/main" id="{182CCEAB-863E-F696-6D5A-592D6F68EA0A}"/>
              </a:ext>
            </a:extLst>
          </p:cNvPr>
          <p:cNvSpPr>
            <a:spLocks noGrp="1"/>
          </p:cNvSpPr>
          <p:nvPr>
            <p:ph type="ftr" sz="quarter" idx="11"/>
          </p:nvPr>
        </p:nvSpPr>
        <p:spPr/>
        <p:txBody>
          <a:bodyPr/>
          <a:lstStyle/>
          <a:p>
            <a:endParaRPr lang="en-NZ" dirty="0"/>
          </a:p>
        </p:txBody>
      </p:sp>
      <p:sp>
        <p:nvSpPr>
          <p:cNvPr id="7" name="Slide Number Placeholder 6">
            <a:extLst>
              <a:ext uri="{FF2B5EF4-FFF2-40B4-BE49-F238E27FC236}">
                <a16:creationId xmlns:a16="http://schemas.microsoft.com/office/drawing/2014/main" id="{B37051FA-2421-10A0-9DDF-49EAD65EB3EB}"/>
              </a:ext>
            </a:extLst>
          </p:cNvPr>
          <p:cNvSpPr>
            <a:spLocks noGrp="1"/>
          </p:cNvSpPr>
          <p:nvPr>
            <p:ph type="sldNum" sz="quarter" idx="12"/>
          </p:nvPr>
        </p:nvSpPr>
        <p:spPr/>
        <p:txBody>
          <a:bodyPr/>
          <a:lstStyle/>
          <a:p>
            <a:fld id="{1CAF9537-8698-41F3-952B-B1F47C86E1D9}" type="slidenum">
              <a:rPr lang="en-NZ" smtClean="0"/>
              <a:t>‹#›</a:t>
            </a:fld>
            <a:endParaRPr lang="en-NZ" dirty="0"/>
          </a:p>
        </p:txBody>
      </p:sp>
    </p:spTree>
    <p:extLst>
      <p:ext uri="{BB962C8B-B14F-4D97-AF65-F5344CB8AC3E}">
        <p14:creationId xmlns:p14="http://schemas.microsoft.com/office/powerpoint/2010/main" val="10071185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5C97F-7D87-8CE8-E2DD-50F9F06EDC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Z"/>
          </a:p>
        </p:txBody>
      </p:sp>
      <p:sp>
        <p:nvSpPr>
          <p:cNvPr id="3" name="Picture Placeholder 2">
            <a:extLst>
              <a:ext uri="{FF2B5EF4-FFF2-40B4-BE49-F238E27FC236}">
                <a16:creationId xmlns:a16="http://schemas.microsoft.com/office/drawing/2014/main" id="{4550ACC8-7264-0E20-D969-F5EA2ABE7E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Z" dirty="0"/>
          </a:p>
        </p:txBody>
      </p:sp>
      <p:sp>
        <p:nvSpPr>
          <p:cNvPr id="4" name="Text Placeholder 3">
            <a:extLst>
              <a:ext uri="{FF2B5EF4-FFF2-40B4-BE49-F238E27FC236}">
                <a16:creationId xmlns:a16="http://schemas.microsoft.com/office/drawing/2014/main" id="{1342C6C0-4CEF-B70B-7C6A-F4961B7E52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230F29-6AA3-EB00-97F7-688FB1E521E7}"/>
              </a:ext>
            </a:extLst>
          </p:cNvPr>
          <p:cNvSpPr>
            <a:spLocks noGrp="1"/>
          </p:cNvSpPr>
          <p:nvPr>
            <p:ph type="dt" sz="half" idx="10"/>
          </p:nvPr>
        </p:nvSpPr>
        <p:spPr/>
        <p:txBody>
          <a:bodyPr/>
          <a:lstStyle/>
          <a:p>
            <a:fld id="{ED154FFB-A72F-44A7-8D57-5AB32CBF8E8B}" type="datetimeFigureOut">
              <a:rPr lang="en-NZ" smtClean="0"/>
              <a:t>25/07/2023</a:t>
            </a:fld>
            <a:endParaRPr lang="en-NZ" dirty="0"/>
          </a:p>
        </p:txBody>
      </p:sp>
      <p:sp>
        <p:nvSpPr>
          <p:cNvPr id="6" name="Footer Placeholder 5">
            <a:extLst>
              <a:ext uri="{FF2B5EF4-FFF2-40B4-BE49-F238E27FC236}">
                <a16:creationId xmlns:a16="http://schemas.microsoft.com/office/drawing/2014/main" id="{876FD5CE-84AF-DB59-590F-E4EB32AA5CC8}"/>
              </a:ext>
            </a:extLst>
          </p:cNvPr>
          <p:cNvSpPr>
            <a:spLocks noGrp="1"/>
          </p:cNvSpPr>
          <p:nvPr>
            <p:ph type="ftr" sz="quarter" idx="11"/>
          </p:nvPr>
        </p:nvSpPr>
        <p:spPr/>
        <p:txBody>
          <a:bodyPr/>
          <a:lstStyle/>
          <a:p>
            <a:endParaRPr lang="en-NZ" dirty="0"/>
          </a:p>
        </p:txBody>
      </p:sp>
      <p:sp>
        <p:nvSpPr>
          <p:cNvPr id="7" name="Slide Number Placeholder 6">
            <a:extLst>
              <a:ext uri="{FF2B5EF4-FFF2-40B4-BE49-F238E27FC236}">
                <a16:creationId xmlns:a16="http://schemas.microsoft.com/office/drawing/2014/main" id="{FDDDA48D-307E-28FC-479C-7593D882E0F9}"/>
              </a:ext>
            </a:extLst>
          </p:cNvPr>
          <p:cNvSpPr>
            <a:spLocks noGrp="1"/>
          </p:cNvSpPr>
          <p:nvPr>
            <p:ph type="sldNum" sz="quarter" idx="12"/>
          </p:nvPr>
        </p:nvSpPr>
        <p:spPr/>
        <p:txBody>
          <a:bodyPr/>
          <a:lstStyle/>
          <a:p>
            <a:fld id="{1CAF9537-8698-41F3-952B-B1F47C86E1D9}" type="slidenum">
              <a:rPr lang="en-NZ" smtClean="0"/>
              <a:t>‹#›</a:t>
            </a:fld>
            <a:endParaRPr lang="en-NZ" dirty="0"/>
          </a:p>
        </p:txBody>
      </p:sp>
    </p:spTree>
    <p:extLst>
      <p:ext uri="{BB962C8B-B14F-4D97-AF65-F5344CB8AC3E}">
        <p14:creationId xmlns:p14="http://schemas.microsoft.com/office/powerpoint/2010/main" val="9707772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BC365-A763-B275-DBA1-B53CBD5FB9A2}"/>
              </a:ext>
            </a:extLst>
          </p:cNvPr>
          <p:cNvSpPr>
            <a:spLocks noGrp="1"/>
          </p:cNvSpPr>
          <p:nvPr>
            <p:ph type="title"/>
          </p:nvPr>
        </p:nvSpPr>
        <p:spPr/>
        <p:txBody>
          <a:bodyPr/>
          <a:lstStyle/>
          <a:p>
            <a:r>
              <a:rPr lang="en-US"/>
              <a:t>Click to edit Master title style</a:t>
            </a:r>
            <a:endParaRPr lang="en-NZ"/>
          </a:p>
        </p:txBody>
      </p:sp>
      <p:sp>
        <p:nvSpPr>
          <p:cNvPr id="3" name="Vertical Text Placeholder 2">
            <a:extLst>
              <a:ext uri="{FF2B5EF4-FFF2-40B4-BE49-F238E27FC236}">
                <a16:creationId xmlns:a16="http://schemas.microsoft.com/office/drawing/2014/main" id="{622B9885-B336-8D7C-7ED2-5F9842075CB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Date Placeholder 3">
            <a:extLst>
              <a:ext uri="{FF2B5EF4-FFF2-40B4-BE49-F238E27FC236}">
                <a16:creationId xmlns:a16="http://schemas.microsoft.com/office/drawing/2014/main" id="{39F2F721-2D3A-2EB5-6CC8-015069FDC4D4}"/>
              </a:ext>
            </a:extLst>
          </p:cNvPr>
          <p:cNvSpPr>
            <a:spLocks noGrp="1"/>
          </p:cNvSpPr>
          <p:nvPr>
            <p:ph type="dt" sz="half" idx="10"/>
          </p:nvPr>
        </p:nvSpPr>
        <p:spPr/>
        <p:txBody>
          <a:bodyPr/>
          <a:lstStyle/>
          <a:p>
            <a:fld id="{ED154FFB-A72F-44A7-8D57-5AB32CBF8E8B}" type="datetimeFigureOut">
              <a:rPr lang="en-NZ" smtClean="0"/>
              <a:t>25/07/2023</a:t>
            </a:fld>
            <a:endParaRPr lang="en-NZ" dirty="0"/>
          </a:p>
        </p:txBody>
      </p:sp>
      <p:sp>
        <p:nvSpPr>
          <p:cNvPr id="5" name="Footer Placeholder 4">
            <a:extLst>
              <a:ext uri="{FF2B5EF4-FFF2-40B4-BE49-F238E27FC236}">
                <a16:creationId xmlns:a16="http://schemas.microsoft.com/office/drawing/2014/main" id="{8D4760D7-55F5-5404-D976-8C235A02D1F3}"/>
              </a:ext>
            </a:extLst>
          </p:cNvPr>
          <p:cNvSpPr>
            <a:spLocks noGrp="1"/>
          </p:cNvSpPr>
          <p:nvPr>
            <p:ph type="ftr" sz="quarter" idx="11"/>
          </p:nvPr>
        </p:nvSpPr>
        <p:spPr/>
        <p:txBody>
          <a:bodyPr/>
          <a:lstStyle/>
          <a:p>
            <a:endParaRPr lang="en-NZ" dirty="0"/>
          </a:p>
        </p:txBody>
      </p:sp>
      <p:sp>
        <p:nvSpPr>
          <p:cNvPr id="6" name="Slide Number Placeholder 5">
            <a:extLst>
              <a:ext uri="{FF2B5EF4-FFF2-40B4-BE49-F238E27FC236}">
                <a16:creationId xmlns:a16="http://schemas.microsoft.com/office/drawing/2014/main" id="{274FD241-74C7-EA81-EFE4-090266271A90}"/>
              </a:ext>
            </a:extLst>
          </p:cNvPr>
          <p:cNvSpPr>
            <a:spLocks noGrp="1"/>
          </p:cNvSpPr>
          <p:nvPr>
            <p:ph type="sldNum" sz="quarter" idx="12"/>
          </p:nvPr>
        </p:nvSpPr>
        <p:spPr/>
        <p:txBody>
          <a:bodyPr/>
          <a:lstStyle/>
          <a:p>
            <a:fld id="{1CAF9537-8698-41F3-952B-B1F47C86E1D9}" type="slidenum">
              <a:rPr lang="en-NZ" smtClean="0"/>
              <a:t>‹#›</a:t>
            </a:fld>
            <a:endParaRPr lang="en-NZ" dirty="0"/>
          </a:p>
        </p:txBody>
      </p:sp>
    </p:spTree>
    <p:extLst>
      <p:ext uri="{BB962C8B-B14F-4D97-AF65-F5344CB8AC3E}">
        <p14:creationId xmlns:p14="http://schemas.microsoft.com/office/powerpoint/2010/main" val="26418286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91769D5-1D80-DBB2-B8CC-75B6E4495FD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NZ"/>
          </a:p>
        </p:txBody>
      </p:sp>
      <p:sp>
        <p:nvSpPr>
          <p:cNvPr id="3" name="Vertical Text Placeholder 2">
            <a:extLst>
              <a:ext uri="{FF2B5EF4-FFF2-40B4-BE49-F238E27FC236}">
                <a16:creationId xmlns:a16="http://schemas.microsoft.com/office/drawing/2014/main" id="{42F5CACB-C832-2FC9-42B6-F382B81EEA1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Date Placeholder 3">
            <a:extLst>
              <a:ext uri="{FF2B5EF4-FFF2-40B4-BE49-F238E27FC236}">
                <a16:creationId xmlns:a16="http://schemas.microsoft.com/office/drawing/2014/main" id="{BF50EDA3-E89C-5B37-6CC6-55DFD67ACF39}"/>
              </a:ext>
            </a:extLst>
          </p:cNvPr>
          <p:cNvSpPr>
            <a:spLocks noGrp="1"/>
          </p:cNvSpPr>
          <p:nvPr>
            <p:ph type="dt" sz="half" idx="10"/>
          </p:nvPr>
        </p:nvSpPr>
        <p:spPr/>
        <p:txBody>
          <a:bodyPr/>
          <a:lstStyle/>
          <a:p>
            <a:fld id="{ED154FFB-A72F-44A7-8D57-5AB32CBF8E8B}" type="datetimeFigureOut">
              <a:rPr lang="en-NZ" smtClean="0"/>
              <a:t>25/07/2023</a:t>
            </a:fld>
            <a:endParaRPr lang="en-NZ" dirty="0"/>
          </a:p>
        </p:txBody>
      </p:sp>
      <p:sp>
        <p:nvSpPr>
          <p:cNvPr id="5" name="Footer Placeholder 4">
            <a:extLst>
              <a:ext uri="{FF2B5EF4-FFF2-40B4-BE49-F238E27FC236}">
                <a16:creationId xmlns:a16="http://schemas.microsoft.com/office/drawing/2014/main" id="{A9679867-94C2-77E6-FEB6-3E3D5F217CB8}"/>
              </a:ext>
            </a:extLst>
          </p:cNvPr>
          <p:cNvSpPr>
            <a:spLocks noGrp="1"/>
          </p:cNvSpPr>
          <p:nvPr>
            <p:ph type="ftr" sz="quarter" idx="11"/>
          </p:nvPr>
        </p:nvSpPr>
        <p:spPr/>
        <p:txBody>
          <a:bodyPr/>
          <a:lstStyle/>
          <a:p>
            <a:endParaRPr lang="en-NZ" dirty="0"/>
          </a:p>
        </p:txBody>
      </p:sp>
      <p:sp>
        <p:nvSpPr>
          <p:cNvPr id="6" name="Slide Number Placeholder 5">
            <a:extLst>
              <a:ext uri="{FF2B5EF4-FFF2-40B4-BE49-F238E27FC236}">
                <a16:creationId xmlns:a16="http://schemas.microsoft.com/office/drawing/2014/main" id="{126DD81C-E796-C635-A56F-DEBF266B0F20}"/>
              </a:ext>
            </a:extLst>
          </p:cNvPr>
          <p:cNvSpPr>
            <a:spLocks noGrp="1"/>
          </p:cNvSpPr>
          <p:nvPr>
            <p:ph type="sldNum" sz="quarter" idx="12"/>
          </p:nvPr>
        </p:nvSpPr>
        <p:spPr/>
        <p:txBody>
          <a:bodyPr/>
          <a:lstStyle/>
          <a:p>
            <a:fld id="{1CAF9537-8698-41F3-952B-B1F47C86E1D9}" type="slidenum">
              <a:rPr lang="en-NZ" smtClean="0"/>
              <a:t>‹#›</a:t>
            </a:fld>
            <a:endParaRPr lang="en-NZ" dirty="0"/>
          </a:p>
        </p:txBody>
      </p:sp>
    </p:spTree>
    <p:extLst>
      <p:ext uri="{BB962C8B-B14F-4D97-AF65-F5344CB8AC3E}">
        <p14:creationId xmlns:p14="http://schemas.microsoft.com/office/powerpoint/2010/main" val="3952920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a:t>
            </a:r>
            <a:fld id="{4A4184B5-0143-457E-906C-76BDD32DF4EA}" type="datetimeyyyy">
              <a:rPr lang="en-US" sz="900" noProof="0" smtClean="0">
                <a:solidFill>
                  <a:schemeClr val="bg1"/>
                </a:solidFill>
                <a:latin typeface="Calibri" panose="020F0502020204030204" pitchFamily="34" charset="0"/>
                <a:cs typeface="Calibri" panose="020F0502020204030204" pitchFamily="34" charset="0"/>
              </a:rPr>
              <a:t>2023</a:t>
            </a:fld>
            <a:r>
              <a:rPr lang="en-US" sz="900" noProof="0" dirty="0">
                <a:solidFill>
                  <a:schemeClr val="bg1"/>
                </a:solidFill>
                <a:latin typeface="Calibri" panose="020F0502020204030204" pitchFamily="34" charset="0"/>
                <a:cs typeface="Calibri" panose="020F0502020204030204" pitchFamily="34" charset="0"/>
              </a:rPr>
              <a:t>.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ILANZ Conference 2023</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Tree>
    <p:extLst>
      <p:ext uri="{BB962C8B-B14F-4D97-AF65-F5344CB8AC3E}">
        <p14:creationId xmlns:p14="http://schemas.microsoft.com/office/powerpoint/2010/main" val="280762667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0615769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Legal Text Black">
    <p:bg>
      <p:bgPr>
        <a:solidFill>
          <a:schemeClr val="tx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DBE0613-D0C6-405A-ACD6-58EF0477427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8" name="text" descr="{&quot;templafy&quot;:{&quot;id&quot;:&quot;3c8edb63-0843-4659-ae36-a53fa4b150e4&quot;}}" title="UserProfile.LegalEntity.Boilerplate_{{Form.InternalExternal.PptDynamicPrefix}}">
            <a:extLst>
              <a:ext uri="{FF2B5EF4-FFF2-40B4-BE49-F238E27FC236}">
                <a16:creationId xmlns:a16="http://schemas.microsoft.com/office/drawing/2014/main" id="{428134EC-E3E1-422C-926B-53B2BC3EA4A7}"/>
              </a:ext>
            </a:extLst>
          </p:cNvPr>
          <p:cNvSpPr txBox="1"/>
          <p:nvPr userDrawn="1"/>
        </p:nvSpPr>
        <p:spPr>
          <a:xfrm>
            <a:off x="501652" y="1341749"/>
            <a:ext cx="8528936" cy="5040000"/>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GB" sz="900" dirty="0">
                <a:solidFill>
                  <a:schemeClr val="bg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is a separate and independent legal entity, provide services from more than 100 cities across the region, including Auckland, Bangkok, Beijing, Bengaluru, Hanoi, Hong Kong, Jakarta, Kuala Lumpur, Manila, Melbourne, Mumbai, New Delhi,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approximately 415,000 people worldwide make an impact that matters at www.deloitte.com.
Deloitte New Zealand brings together more than 18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and any attachment to it is for internal distribution among personnel of the Deloitte organisation. It may contain confidential information and is intended solely for the use of the individual or entity to whom it is addressed. If you are not the intended recipient, please notify us immediately by replying to this email and then please delete this communication and all copies of it on your system. Please do not use this communication in any way.
None of DTTL, its member firms, related entities, employees or agents shall be responsible for any loss or damage whatsoever arising directly or indirectly in connection with any person relying on this communication.
© 2023. Deloitte Limited (as trustee for the Deloitte Trading Trust).</a:t>
            </a:r>
          </a:p>
        </p:txBody>
      </p:sp>
    </p:spTree>
    <p:extLst>
      <p:ext uri="{BB962C8B-B14F-4D97-AF65-F5344CB8AC3E}">
        <p14:creationId xmlns:p14="http://schemas.microsoft.com/office/powerpoint/2010/main" val="2058886874"/>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Click to edit Master text styles</a:t>
            </a:r>
            <a:endParaRPr lang="en-GB"/>
          </a:p>
        </p:txBody>
      </p:sp>
      <p:sp>
        <p:nvSpPr>
          <p:cNvPr id="10" name="TextBox 9">
            <a:extLst>
              <a:ext uri="{FF2B5EF4-FFF2-40B4-BE49-F238E27FC236}">
                <a16:creationId xmlns:a16="http://schemas.microsoft.com/office/drawing/2014/main" id="{17D5852C-EC93-4846-8B17-13024B66CA6F}"/>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dirty="0">
              <a:solidFill>
                <a:schemeClr val="bg1"/>
              </a:solidFill>
              <a:latin typeface="Calibri" panose="020F0502020204030204" pitchFamily="34" charset="0"/>
              <a:cs typeface="Calibri" panose="020F0502020204030204" pitchFamily="34" charset="0"/>
            </a:endParaRPr>
          </a:p>
        </p:txBody>
      </p:sp>
      <p:sp>
        <p:nvSpPr>
          <p:cNvPr id="11" name="text title" descr="{&quot;templafy&quot;:{&quot;id&quot;:&quot;a39e6a51-25d2-4d3d-a8ac-52885e10aa7d&quot;}}" title="Form.PresentationTitle">
            <a:extLst>
              <a:ext uri="{FF2B5EF4-FFF2-40B4-BE49-F238E27FC236}">
                <a16:creationId xmlns:a16="http://schemas.microsoft.com/office/drawing/2014/main" id="{ABD7DC8C-9121-4912-A4D1-6CA6F0BBE8E9}"/>
              </a:ext>
            </a:extLst>
          </p:cNvPr>
          <p:cNvSpPr/>
          <p:nvPr userDrawn="1"/>
        </p:nvSpPr>
        <p:spPr bwMode="gray">
          <a:xfrm>
            <a:off x="7727951" y="6476999"/>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Tompkins Wake Sharing Session</a:t>
            </a:r>
          </a:p>
        </p:txBody>
      </p:sp>
      <p:sp>
        <p:nvSpPr>
          <p:cNvPr id="12" name="text class" descr="{&quot;templafy&quot;:{&quot;id&quot;:&quot;20e6a587-9e05-4f34-86ed-9a9a8fcf4760&quot;}}" title="Form.Confidential.ClassificationInsertText">
            <a:extLst>
              <a:ext uri="{FF2B5EF4-FFF2-40B4-BE49-F238E27FC236}">
                <a16:creationId xmlns:a16="http://schemas.microsoft.com/office/drawing/2014/main" id="{CBB0761F-5D17-4831-AEDF-D7A7F29AB4D9}"/>
              </a:ext>
            </a:extLst>
          </p:cNvPr>
          <p:cNvSpPr/>
          <p:nvPr userDrawn="1"/>
        </p:nvSpPr>
        <p:spPr bwMode="gray">
          <a:xfrm>
            <a:off x="9738302" y="6476999"/>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CONFIDENTIAL</a:t>
            </a:r>
          </a:p>
        </p:txBody>
      </p:sp>
      <p:sp>
        <p:nvSpPr>
          <p:cNvPr id="13" name="Rectangle 12">
            <a:extLst>
              <a:ext uri="{FF2B5EF4-FFF2-40B4-BE49-F238E27FC236}">
                <a16:creationId xmlns:a16="http://schemas.microsoft.com/office/drawing/2014/main" id="{17463B69-5143-4BEF-8A62-4D628A28E526}"/>
              </a:ext>
            </a:extLst>
          </p:cNvPr>
          <p:cNvSpPr/>
          <p:nvPr userDrawn="1"/>
        </p:nvSpPr>
        <p:spPr bwMode="gray">
          <a:xfrm>
            <a:off x="9680361" y="6500399"/>
            <a:ext cx="10800" cy="972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4" name="text Copyright" descr="{&quot;templafy&quot;:{&quot;id&quot;:&quot;287e6136-da68-4b5e-afd5-6025937f7f09&quot;}}" title="UserProfile.LegalEntity.Copyright">
            <a:extLst>
              <a:ext uri="{FF2B5EF4-FFF2-40B4-BE49-F238E27FC236}">
                <a16:creationId xmlns:a16="http://schemas.microsoft.com/office/drawing/2014/main" id="{8AE3790F-A2E9-4953-9BA7-BAF536226D12}"/>
              </a:ext>
            </a:extLst>
          </p:cNvPr>
          <p:cNvSpPr/>
          <p:nvPr userDrawn="1"/>
        </p:nvSpPr>
        <p:spPr bwMode="gray">
          <a:xfrm>
            <a:off x="501649" y="6476999"/>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 2022. For information, contact Deloitte Touche Tohmatsu Limited.</a:t>
            </a:r>
          </a:p>
        </p:txBody>
      </p:sp>
    </p:spTree>
    <p:extLst>
      <p:ext uri="{BB962C8B-B14F-4D97-AF65-F5344CB8AC3E}">
        <p14:creationId xmlns:p14="http://schemas.microsoft.com/office/powerpoint/2010/main" val="3075238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742692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8756206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800909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a:t>
            </a:r>
            <a:fld id="{9B39A20B-FF47-4224-B924-CCA68C552242}" type="datetimeyyyy">
              <a:rPr lang="en-US" sz="900" noProof="0" smtClean="0">
                <a:solidFill>
                  <a:schemeClr val="bg1"/>
                </a:solidFill>
                <a:latin typeface="Calibri" panose="020F0502020204030204" pitchFamily="34" charset="0"/>
                <a:cs typeface="Calibri" panose="020F0502020204030204" pitchFamily="34" charset="0"/>
              </a:rPr>
              <a:t>2023</a:t>
            </a:fld>
            <a:r>
              <a:rPr lang="en-US" sz="900" noProof="0" dirty="0">
                <a:solidFill>
                  <a:schemeClr val="bg1"/>
                </a:solidFill>
                <a:latin typeface="Calibri" panose="020F0502020204030204" pitchFamily="34" charset="0"/>
                <a:cs typeface="Calibri" panose="020F0502020204030204" pitchFamily="34" charset="0"/>
              </a:rPr>
              <a:t>.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ILANZ Conference 2023</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5" name="Freeform 6"/>
          <p:cNvSpPr>
            <a:spLocks noEditPoints="1"/>
          </p:cNvSpPr>
          <p:nvPr userDrawn="1"/>
        </p:nvSpPr>
        <p:spPr bwMode="auto">
          <a:xfrm>
            <a:off x="1672440" y="696562"/>
            <a:ext cx="8893960" cy="3722142"/>
          </a:xfrm>
          <a:custGeom>
            <a:avLst/>
            <a:gdLst>
              <a:gd name="T0" fmla="*/ 9032 w 9534"/>
              <a:gd name="T1" fmla="*/ 2729 h 3990"/>
              <a:gd name="T2" fmla="*/ 8371 w 9534"/>
              <a:gd name="T3" fmla="*/ 2925 h 3990"/>
              <a:gd name="T4" fmla="*/ 7037 w 9534"/>
              <a:gd name="T5" fmla="*/ 1028 h 3990"/>
              <a:gd name="T6" fmla="*/ 6658 w 9534"/>
              <a:gd name="T7" fmla="*/ 1334 h 3990"/>
              <a:gd name="T8" fmla="*/ 5850 w 9534"/>
              <a:gd name="T9" fmla="*/ 2815 h 3990"/>
              <a:gd name="T10" fmla="*/ 5275 w 9534"/>
              <a:gd name="T11" fmla="*/ 2081 h 3990"/>
              <a:gd name="T12" fmla="*/ 4455 w 9534"/>
              <a:gd name="T13" fmla="*/ 2240 h 3990"/>
              <a:gd name="T14" fmla="*/ 4467 w 9534"/>
              <a:gd name="T15" fmla="*/ 3549 h 3990"/>
              <a:gd name="T16" fmla="*/ 4369 w 9534"/>
              <a:gd name="T17" fmla="*/ 1677 h 3990"/>
              <a:gd name="T18" fmla="*/ 3892 w 9534"/>
              <a:gd name="T19" fmla="*/ 1677 h 3990"/>
              <a:gd name="T20" fmla="*/ 3610 w 9534"/>
              <a:gd name="T21" fmla="*/ 2656 h 3990"/>
              <a:gd name="T22" fmla="*/ 2068 w 9534"/>
              <a:gd name="T23" fmla="*/ 3402 h 3990"/>
              <a:gd name="T24" fmla="*/ 1579 w 9534"/>
              <a:gd name="T25" fmla="*/ 2619 h 3990"/>
              <a:gd name="T26" fmla="*/ 1775 w 9534"/>
              <a:gd name="T27" fmla="*/ 844 h 3990"/>
              <a:gd name="T28" fmla="*/ 5813 w 9534"/>
              <a:gd name="T29" fmla="*/ 808 h 3990"/>
              <a:gd name="T30" fmla="*/ 6303 w 9534"/>
              <a:gd name="T31" fmla="*/ 857 h 3990"/>
              <a:gd name="T32" fmla="*/ 6695 w 9534"/>
              <a:gd name="T33" fmla="*/ 893 h 3990"/>
              <a:gd name="T34" fmla="*/ 6254 w 9534"/>
              <a:gd name="T35" fmla="*/ 759 h 3990"/>
              <a:gd name="T36" fmla="*/ 3390 w 9534"/>
              <a:gd name="T37" fmla="*/ 2509 h 3990"/>
              <a:gd name="T38" fmla="*/ 3329 w 9534"/>
              <a:gd name="T39" fmla="*/ 3280 h 3990"/>
              <a:gd name="T40" fmla="*/ 2717 w 9534"/>
              <a:gd name="T41" fmla="*/ 3158 h 3990"/>
              <a:gd name="T42" fmla="*/ 2264 w 9534"/>
              <a:gd name="T43" fmla="*/ 3402 h 3990"/>
              <a:gd name="T44" fmla="*/ 1628 w 9534"/>
              <a:gd name="T45" fmla="*/ 783 h 3990"/>
              <a:gd name="T46" fmla="*/ 2117 w 9534"/>
              <a:gd name="T47" fmla="*/ 808 h 3990"/>
              <a:gd name="T48" fmla="*/ 2338 w 9534"/>
              <a:gd name="T49" fmla="*/ 673 h 3990"/>
              <a:gd name="T50" fmla="*/ 9412 w 9534"/>
              <a:gd name="T51" fmla="*/ 3011 h 3990"/>
              <a:gd name="T52" fmla="*/ 9179 w 9534"/>
              <a:gd name="T53" fmla="*/ 3415 h 3990"/>
              <a:gd name="T54" fmla="*/ 8898 w 9534"/>
              <a:gd name="T55" fmla="*/ 3182 h 3990"/>
              <a:gd name="T56" fmla="*/ 8861 w 9534"/>
              <a:gd name="T57" fmla="*/ 3451 h 3990"/>
              <a:gd name="T58" fmla="*/ 8506 w 9534"/>
              <a:gd name="T59" fmla="*/ 1970 h 3990"/>
              <a:gd name="T60" fmla="*/ 7784 w 9534"/>
              <a:gd name="T61" fmla="*/ 3158 h 3990"/>
              <a:gd name="T62" fmla="*/ 7588 w 9534"/>
              <a:gd name="T63" fmla="*/ 1872 h 3990"/>
              <a:gd name="T64" fmla="*/ 7368 w 9534"/>
              <a:gd name="T65" fmla="*/ 893 h 3990"/>
              <a:gd name="T66" fmla="*/ 7258 w 9534"/>
              <a:gd name="T67" fmla="*/ 343 h 3990"/>
              <a:gd name="T68" fmla="*/ 7172 w 9534"/>
              <a:gd name="T69" fmla="*/ 2093 h 3990"/>
              <a:gd name="T70" fmla="*/ 7172 w 9534"/>
              <a:gd name="T71" fmla="*/ 1187 h 3990"/>
              <a:gd name="T72" fmla="*/ 7074 w 9534"/>
              <a:gd name="T73" fmla="*/ 538 h 3990"/>
              <a:gd name="T74" fmla="*/ 7147 w 9534"/>
              <a:gd name="T75" fmla="*/ 3353 h 3990"/>
              <a:gd name="T76" fmla="*/ 7233 w 9534"/>
              <a:gd name="T77" fmla="*/ 3806 h 3990"/>
              <a:gd name="T78" fmla="*/ 6621 w 9534"/>
              <a:gd name="T79" fmla="*/ 2815 h 3990"/>
              <a:gd name="T80" fmla="*/ 5985 w 9534"/>
              <a:gd name="T81" fmla="*/ 2705 h 3990"/>
              <a:gd name="T82" fmla="*/ 5275 w 9534"/>
              <a:gd name="T83" fmla="*/ 3525 h 3990"/>
              <a:gd name="T84" fmla="*/ 5201 w 9534"/>
              <a:gd name="T85" fmla="*/ 3659 h 3990"/>
              <a:gd name="T86" fmla="*/ 5067 w 9534"/>
              <a:gd name="T87" fmla="*/ 3500 h 3990"/>
              <a:gd name="T88" fmla="*/ 4957 w 9534"/>
              <a:gd name="T89" fmla="*/ 2081 h 3990"/>
              <a:gd name="T90" fmla="*/ 4847 w 9534"/>
              <a:gd name="T91" fmla="*/ 2350 h 3990"/>
              <a:gd name="T92" fmla="*/ 4932 w 9534"/>
              <a:gd name="T93" fmla="*/ 3549 h 3990"/>
              <a:gd name="T94" fmla="*/ 4638 w 9534"/>
              <a:gd name="T95" fmla="*/ 1909 h 3990"/>
              <a:gd name="T96" fmla="*/ 4626 w 9534"/>
              <a:gd name="T97" fmla="*/ 3207 h 3990"/>
              <a:gd name="T98" fmla="*/ 4565 w 9534"/>
              <a:gd name="T99" fmla="*/ 3708 h 3990"/>
              <a:gd name="T100" fmla="*/ 4590 w 9534"/>
              <a:gd name="T101" fmla="*/ 3378 h 3990"/>
              <a:gd name="T102" fmla="*/ 4137 w 9534"/>
              <a:gd name="T103" fmla="*/ 3219 h 3990"/>
              <a:gd name="T104" fmla="*/ 4137 w 9534"/>
              <a:gd name="T105" fmla="*/ 1579 h 3990"/>
              <a:gd name="T106" fmla="*/ 3904 w 9534"/>
              <a:gd name="T107" fmla="*/ 1554 h 3990"/>
              <a:gd name="T108" fmla="*/ 1970 w 9534"/>
              <a:gd name="T109" fmla="*/ 3280 h 3990"/>
              <a:gd name="T110" fmla="*/ 1542 w 9534"/>
              <a:gd name="T111" fmla="*/ 2815 h 3990"/>
              <a:gd name="T112" fmla="*/ 869 w 9534"/>
              <a:gd name="T113" fmla="*/ 3047 h 3990"/>
              <a:gd name="T114" fmla="*/ 869 w 9534"/>
              <a:gd name="T115" fmla="*/ 2203 h 3990"/>
              <a:gd name="T116" fmla="*/ 881 w 9534"/>
              <a:gd name="T117" fmla="*/ 967 h 3990"/>
              <a:gd name="T118" fmla="*/ 918 w 9534"/>
              <a:gd name="T119" fmla="*/ 465 h 3990"/>
              <a:gd name="T120" fmla="*/ 844 w 9534"/>
              <a:gd name="T121" fmla="*/ 2815 h 3990"/>
              <a:gd name="T122" fmla="*/ 538 w 9534"/>
              <a:gd name="T123" fmla="*/ 673 h 3990"/>
              <a:gd name="T124" fmla="*/ 844 w 9534"/>
              <a:gd name="T125" fmla="*/ 3794 h 3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34" h="3990">
                <a:moveTo>
                  <a:pt x="9436" y="3818"/>
                </a:moveTo>
                <a:lnTo>
                  <a:pt x="9436" y="3733"/>
                </a:lnTo>
                <a:lnTo>
                  <a:pt x="9485" y="3733"/>
                </a:lnTo>
                <a:lnTo>
                  <a:pt x="9485" y="3696"/>
                </a:lnTo>
                <a:lnTo>
                  <a:pt x="9436" y="3696"/>
                </a:lnTo>
                <a:lnTo>
                  <a:pt x="9436" y="3586"/>
                </a:lnTo>
                <a:lnTo>
                  <a:pt x="9485" y="3586"/>
                </a:lnTo>
                <a:lnTo>
                  <a:pt x="9485" y="3561"/>
                </a:lnTo>
                <a:lnTo>
                  <a:pt x="9436" y="3561"/>
                </a:lnTo>
                <a:lnTo>
                  <a:pt x="9436" y="3451"/>
                </a:lnTo>
                <a:lnTo>
                  <a:pt x="9485" y="3451"/>
                </a:lnTo>
                <a:lnTo>
                  <a:pt x="9485" y="3415"/>
                </a:lnTo>
                <a:lnTo>
                  <a:pt x="9436" y="3415"/>
                </a:lnTo>
                <a:lnTo>
                  <a:pt x="9436" y="3304"/>
                </a:lnTo>
                <a:lnTo>
                  <a:pt x="9485" y="3304"/>
                </a:lnTo>
                <a:lnTo>
                  <a:pt x="9485" y="3268"/>
                </a:lnTo>
                <a:lnTo>
                  <a:pt x="9436" y="3268"/>
                </a:lnTo>
                <a:lnTo>
                  <a:pt x="9436" y="3182"/>
                </a:lnTo>
                <a:lnTo>
                  <a:pt x="9485" y="3182"/>
                </a:lnTo>
                <a:lnTo>
                  <a:pt x="9485" y="3158"/>
                </a:lnTo>
                <a:lnTo>
                  <a:pt x="9436" y="3158"/>
                </a:lnTo>
                <a:lnTo>
                  <a:pt x="9436" y="3047"/>
                </a:lnTo>
                <a:lnTo>
                  <a:pt x="9485" y="3047"/>
                </a:lnTo>
                <a:lnTo>
                  <a:pt x="9485" y="3011"/>
                </a:lnTo>
                <a:lnTo>
                  <a:pt x="9436" y="3011"/>
                </a:lnTo>
                <a:lnTo>
                  <a:pt x="9436" y="2901"/>
                </a:lnTo>
                <a:lnTo>
                  <a:pt x="9485" y="2901"/>
                </a:lnTo>
                <a:lnTo>
                  <a:pt x="9485" y="2864"/>
                </a:lnTo>
                <a:lnTo>
                  <a:pt x="9436" y="2864"/>
                </a:lnTo>
                <a:lnTo>
                  <a:pt x="9436" y="2766"/>
                </a:lnTo>
                <a:lnTo>
                  <a:pt x="9485" y="2766"/>
                </a:lnTo>
                <a:lnTo>
                  <a:pt x="9485" y="2729"/>
                </a:lnTo>
                <a:lnTo>
                  <a:pt x="9436" y="2729"/>
                </a:lnTo>
                <a:lnTo>
                  <a:pt x="9436" y="2509"/>
                </a:lnTo>
                <a:lnTo>
                  <a:pt x="9412" y="2509"/>
                </a:lnTo>
                <a:lnTo>
                  <a:pt x="9412" y="2729"/>
                </a:lnTo>
                <a:lnTo>
                  <a:pt x="9338" y="2729"/>
                </a:lnTo>
                <a:lnTo>
                  <a:pt x="9338" y="2582"/>
                </a:lnTo>
                <a:lnTo>
                  <a:pt x="9314" y="2582"/>
                </a:lnTo>
                <a:lnTo>
                  <a:pt x="9314" y="2729"/>
                </a:lnTo>
                <a:lnTo>
                  <a:pt x="9167" y="2729"/>
                </a:lnTo>
                <a:lnTo>
                  <a:pt x="9167" y="2509"/>
                </a:lnTo>
                <a:lnTo>
                  <a:pt x="9130" y="2509"/>
                </a:lnTo>
                <a:lnTo>
                  <a:pt x="9130" y="2729"/>
                </a:lnTo>
                <a:lnTo>
                  <a:pt x="9069" y="2729"/>
                </a:lnTo>
                <a:lnTo>
                  <a:pt x="9069" y="2582"/>
                </a:lnTo>
                <a:lnTo>
                  <a:pt x="9032" y="2582"/>
                </a:lnTo>
                <a:lnTo>
                  <a:pt x="9032" y="2729"/>
                </a:lnTo>
                <a:lnTo>
                  <a:pt x="8898" y="2729"/>
                </a:lnTo>
                <a:lnTo>
                  <a:pt x="8898" y="2509"/>
                </a:lnTo>
                <a:lnTo>
                  <a:pt x="8861" y="2509"/>
                </a:lnTo>
                <a:lnTo>
                  <a:pt x="8861" y="2729"/>
                </a:lnTo>
                <a:lnTo>
                  <a:pt x="8800" y="2729"/>
                </a:lnTo>
                <a:lnTo>
                  <a:pt x="8800" y="2717"/>
                </a:lnTo>
                <a:lnTo>
                  <a:pt x="8763" y="2717"/>
                </a:lnTo>
                <a:lnTo>
                  <a:pt x="8763" y="2729"/>
                </a:lnTo>
                <a:lnTo>
                  <a:pt x="8726" y="2729"/>
                </a:lnTo>
                <a:lnTo>
                  <a:pt x="8726" y="2766"/>
                </a:lnTo>
                <a:lnTo>
                  <a:pt x="8763" y="2766"/>
                </a:lnTo>
                <a:lnTo>
                  <a:pt x="8763" y="2864"/>
                </a:lnTo>
                <a:lnTo>
                  <a:pt x="8726" y="2864"/>
                </a:lnTo>
                <a:lnTo>
                  <a:pt x="8726" y="2901"/>
                </a:lnTo>
                <a:lnTo>
                  <a:pt x="8763" y="2901"/>
                </a:lnTo>
                <a:lnTo>
                  <a:pt x="8763" y="3011"/>
                </a:lnTo>
                <a:lnTo>
                  <a:pt x="8726" y="3011"/>
                </a:lnTo>
                <a:lnTo>
                  <a:pt x="8726" y="3047"/>
                </a:lnTo>
                <a:lnTo>
                  <a:pt x="8763" y="3047"/>
                </a:lnTo>
                <a:lnTo>
                  <a:pt x="8763" y="3158"/>
                </a:lnTo>
                <a:lnTo>
                  <a:pt x="8726" y="3158"/>
                </a:lnTo>
                <a:lnTo>
                  <a:pt x="8726" y="3182"/>
                </a:lnTo>
                <a:lnTo>
                  <a:pt x="8763" y="3182"/>
                </a:lnTo>
                <a:lnTo>
                  <a:pt x="8763" y="3268"/>
                </a:lnTo>
                <a:lnTo>
                  <a:pt x="8726" y="3268"/>
                </a:lnTo>
                <a:lnTo>
                  <a:pt x="8726" y="3304"/>
                </a:lnTo>
                <a:lnTo>
                  <a:pt x="8763" y="3304"/>
                </a:lnTo>
                <a:lnTo>
                  <a:pt x="8763" y="3415"/>
                </a:lnTo>
                <a:lnTo>
                  <a:pt x="8726" y="3415"/>
                </a:lnTo>
                <a:lnTo>
                  <a:pt x="8726" y="3451"/>
                </a:lnTo>
                <a:lnTo>
                  <a:pt x="8763" y="3451"/>
                </a:lnTo>
                <a:lnTo>
                  <a:pt x="8763" y="3561"/>
                </a:lnTo>
                <a:lnTo>
                  <a:pt x="8726" y="3561"/>
                </a:lnTo>
                <a:lnTo>
                  <a:pt x="8726" y="3586"/>
                </a:lnTo>
                <a:lnTo>
                  <a:pt x="8763" y="3586"/>
                </a:lnTo>
                <a:lnTo>
                  <a:pt x="8763" y="3696"/>
                </a:lnTo>
                <a:lnTo>
                  <a:pt x="8726" y="3696"/>
                </a:lnTo>
                <a:lnTo>
                  <a:pt x="8726" y="3733"/>
                </a:lnTo>
                <a:lnTo>
                  <a:pt x="8763" y="3733"/>
                </a:lnTo>
                <a:lnTo>
                  <a:pt x="8763" y="3818"/>
                </a:lnTo>
                <a:lnTo>
                  <a:pt x="8604" y="3818"/>
                </a:lnTo>
                <a:lnTo>
                  <a:pt x="8604" y="3451"/>
                </a:lnTo>
                <a:lnTo>
                  <a:pt x="8604" y="3366"/>
                </a:lnTo>
                <a:lnTo>
                  <a:pt x="8604" y="3268"/>
                </a:lnTo>
                <a:lnTo>
                  <a:pt x="8420" y="3268"/>
                </a:lnTo>
                <a:lnTo>
                  <a:pt x="8420" y="3158"/>
                </a:lnTo>
                <a:lnTo>
                  <a:pt x="8371" y="3158"/>
                </a:lnTo>
                <a:lnTo>
                  <a:pt x="8371" y="2925"/>
                </a:lnTo>
                <a:lnTo>
                  <a:pt x="8420" y="2925"/>
                </a:lnTo>
                <a:lnTo>
                  <a:pt x="8420" y="2790"/>
                </a:lnTo>
                <a:lnTo>
                  <a:pt x="8616" y="2790"/>
                </a:lnTo>
                <a:lnTo>
                  <a:pt x="8616" y="2607"/>
                </a:lnTo>
                <a:lnTo>
                  <a:pt x="8543" y="2607"/>
                </a:lnTo>
                <a:lnTo>
                  <a:pt x="8543" y="2582"/>
                </a:lnTo>
                <a:lnTo>
                  <a:pt x="8543" y="2533"/>
                </a:lnTo>
                <a:lnTo>
                  <a:pt x="8543" y="2374"/>
                </a:lnTo>
                <a:lnTo>
                  <a:pt x="8543" y="2325"/>
                </a:lnTo>
                <a:lnTo>
                  <a:pt x="8543" y="2166"/>
                </a:lnTo>
                <a:lnTo>
                  <a:pt x="8543" y="2117"/>
                </a:lnTo>
                <a:lnTo>
                  <a:pt x="8543" y="1958"/>
                </a:lnTo>
                <a:lnTo>
                  <a:pt x="8543" y="1909"/>
                </a:lnTo>
                <a:lnTo>
                  <a:pt x="8543" y="1872"/>
                </a:lnTo>
                <a:lnTo>
                  <a:pt x="8616" y="1872"/>
                </a:lnTo>
                <a:lnTo>
                  <a:pt x="8616" y="1689"/>
                </a:lnTo>
                <a:lnTo>
                  <a:pt x="8286" y="1689"/>
                </a:lnTo>
                <a:lnTo>
                  <a:pt x="8286" y="1493"/>
                </a:lnTo>
                <a:lnTo>
                  <a:pt x="7625" y="1493"/>
                </a:lnTo>
                <a:lnTo>
                  <a:pt x="7625" y="1689"/>
                </a:lnTo>
                <a:lnTo>
                  <a:pt x="7294" y="1689"/>
                </a:lnTo>
                <a:lnTo>
                  <a:pt x="7294" y="1701"/>
                </a:lnTo>
                <a:lnTo>
                  <a:pt x="7258" y="1701"/>
                </a:lnTo>
                <a:lnTo>
                  <a:pt x="7258" y="1481"/>
                </a:lnTo>
                <a:lnTo>
                  <a:pt x="7258" y="1444"/>
                </a:lnTo>
                <a:lnTo>
                  <a:pt x="7258" y="1297"/>
                </a:lnTo>
                <a:lnTo>
                  <a:pt x="7258" y="1261"/>
                </a:lnTo>
                <a:lnTo>
                  <a:pt x="7258" y="1114"/>
                </a:lnTo>
                <a:lnTo>
                  <a:pt x="7258" y="1077"/>
                </a:lnTo>
                <a:lnTo>
                  <a:pt x="7258" y="1028"/>
                </a:lnTo>
                <a:lnTo>
                  <a:pt x="7294" y="1028"/>
                </a:lnTo>
                <a:lnTo>
                  <a:pt x="7294" y="955"/>
                </a:lnTo>
                <a:lnTo>
                  <a:pt x="7735" y="955"/>
                </a:lnTo>
                <a:lnTo>
                  <a:pt x="7735" y="1004"/>
                </a:lnTo>
                <a:lnTo>
                  <a:pt x="7980" y="1004"/>
                </a:lnTo>
                <a:lnTo>
                  <a:pt x="7980" y="710"/>
                </a:lnTo>
                <a:lnTo>
                  <a:pt x="7735" y="710"/>
                </a:lnTo>
                <a:lnTo>
                  <a:pt x="7735" y="722"/>
                </a:lnTo>
                <a:lnTo>
                  <a:pt x="7160" y="147"/>
                </a:lnTo>
                <a:lnTo>
                  <a:pt x="5458" y="881"/>
                </a:lnTo>
                <a:lnTo>
                  <a:pt x="5458" y="881"/>
                </a:lnTo>
                <a:lnTo>
                  <a:pt x="5361" y="918"/>
                </a:lnTo>
                <a:lnTo>
                  <a:pt x="5361" y="955"/>
                </a:lnTo>
                <a:lnTo>
                  <a:pt x="6376" y="955"/>
                </a:lnTo>
                <a:lnTo>
                  <a:pt x="6425" y="955"/>
                </a:lnTo>
                <a:lnTo>
                  <a:pt x="7001" y="955"/>
                </a:lnTo>
                <a:lnTo>
                  <a:pt x="7001" y="1028"/>
                </a:lnTo>
                <a:lnTo>
                  <a:pt x="7037" y="1028"/>
                </a:lnTo>
                <a:lnTo>
                  <a:pt x="7037" y="1701"/>
                </a:lnTo>
                <a:lnTo>
                  <a:pt x="6976" y="1701"/>
                </a:lnTo>
                <a:lnTo>
                  <a:pt x="6976" y="2692"/>
                </a:lnTo>
                <a:lnTo>
                  <a:pt x="6976" y="2766"/>
                </a:lnTo>
                <a:lnTo>
                  <a:pt x="6976" y="3317"/>
                </a:lnTo>
                <a:lnTo>
                  <a:pt x="6866" y="3317"/>
                </a:lnTo>
                <a:lnTo>
                  <a:pt x="6866" y="2974"/>
                </a:lnTo>
                <a:lnTo>
                  <a:pt x="6658" y="2974"/>
                </a:lnTo>
                <a:lnTo>
                  <a:pt x="6658" y="2876"/>
                </a:lnTo>
                <a:lnTo>
                  <a:pt x="6780" y="2876"/>
                </a:lnTo>
                <a:lnTo>
                  <a:pt x="6780" y="2815"/>
                </a:lnTo>
                <a:lnTo>
                  <a:pt x="6658" y="2815"/>
                </a:lnTo>
                <a:lnTo>
                  <a:pt x="6658" y="2705"/>
                </a:lnTo>
                <a:lnTo>
                  <a:pt x="6780" y="2705"/>
                </a:lnTo>
                <a:lnTo>
                  <a:pt x="6780" y="2656"/>
                </a:lnTo>
                <a:lnTo>
                  <a:pt x="6658" y="2656"/>
                </a:lnTo>
                <a:lnTo>
                  <a:pt x="6658" y="2546"/>
                </a:lnTo>
                <a:lnTo>
                  <a:pt x="6780" y="2546"/>
                </a:lnTo>
                <a:lnTo>
                  <a:pt x="6780" y="2484"/>
                </a:lnTo>
                <a:lnTo>
                  <a:pt x="6658" y="2484"/>
                </a:lnTo>
                <a:lnTo>
                  <a:pt x="6658" y="2374"/>
                </a:lnTo>
                <a:lnTo>
                  <a:pt x="6780" y="2374"/>
                </a:lnTo>
                <a:lnTo>
                  <a:pt x="6780" y="2325"/>
                </a:lnTo>
                <a:lnTo>
                  <a:pt x="6658" y="2325"/>
                </a:lnTo>
                <a:lnTo>
                  <a:pt x="6658" y="2215"/>
                </a:lnTo>
                <a:lnTo>
                  <a:pt x="6780" y="2215"/>
                </a:lnTo>
                <a:lnTo>
                  <a:pt x="6780" y="2154"/>
                </a:lnTo>
                <a:lnTo>
                  <a:pt x="6658" y="2154"/>
                </a:lnTo>
                <a:lnTo>
                  <a:pt x="6658" y="2044"/>
                </a:lnTo>
                <a:lnTo>
                  <a:pt x="6780" y="2044"/>
                </a:lnTo>
                <a:lnTo>
                  <a:pt x="6780" y="1995"/>
                </a:lnTo>
                <a:lnTo>
                  <a:pt x="6658" y="1995"/>
                </a:lnTo>
                <a:lnTo>
                  <a:pt x="6658" y="1885"/>
                </a:lnTo>
                <a:lnTo>
                  <a:pt x="6780" y="1885"/>
                </a:lnTo>
                <a:lnTo>
                  <a:pt x="6780" y="1824"/>
                </a:lnTo>
                <a:lnTo>
                  <a:pt x="6658" y="1824"/>
                </a:lnTo>
                <a:lnTo>
                  <a:pt x="6658" y="1713"/>
                </a:lnTo>
                <a:lnTo>
                  <a:pt x="6780" y="1713"/>
                </a:lnTo>
                <a:lnTo>
                  <a:pt x="6780" y="1664"/>
                </a:lnTo>
                <a:lnTo>
                  <a:pt x="6658" y="1664"/>
                </a:lnTo>
                <a:lnTo>
                  <a:pt x="6658" y="1554"/>
                </a:lnTo>
                <a:lnTo>
                  <a:pt x="6780" y="1554"/>
                </a:lnTo>
                <a:lnTo>
                  <a:pt x="6780" y="1493"/>
                </a:lnTo>
                <a:lnTo>
                  <a:pt x="6658" y="1493"/>
                </a:lnTo>
                <a:lnTo>
                  <a:pt x="6658" y="1383"/>
                </a:lnTo>
                <a:lnTo>
                  <a:pt x="6780" y="1383"/>
                </a:lnTo>
                <a:lnTo>
                  <a:pt x="6780" y="1334"/>
                </a:lnTo>
                <a:lnTo>
                  <a:pt x="6658" y="1334"/>
                </a:lnTo>
                <a:lnTo>
                  <a:pt x="6658" y="1163"/>
                </a:lnTo>
                <a:lnTo>
                  <a:pt x="6621" y="1163"/>
                </a:lnTo>
                <a:lnTo>
                  <a:pt x="6621" y="1334"/>
                </a:lnTo>
                <a:lnTo>
                  <a:pt x="6389" y="1334"/>
                </a:lnTo>
                <a:lnTo>
                  <a:pt x="6389" y="1065"/>
                </a:lnTo>
                <a:lnTo>
                  <a:pt x="6217" y="1065"/>
                </a:lnTo>
                <a:lnTo>
                  <a:pt x="6217" y="1334"/>
                </a:lnTo>
                <a:lnTo>
                  <a:pt x="5985" y="1334"/>
                </a:lnTo>
                <a:lnTo>
                  <a:pt x="5985" y="1163"/>
                </a:lnTo>
                <a:lnTo>
                  <a:pt x="5948" y="1163"/>
                </a:lnTo>
                <a:lnTo>
                  <a:pt x="5948" y="1334"/>
                </a:lnTo>
                <a:lnTo>
                  <a:pt x="5850" y="1334"/>
                </a:lnTo>
                <a:lnTo>
                  <a:pt x="5850" y="1383"/>
                </a:lnTo>
                <a:lnTo>
                  <a:pt x="5948" y="1383"/>
                </a:lnTo>
                <a:lnTo>
                  <a:pt x="5948" y="1493"/>
                </a:lnTo>
                <a:lnTo>
                  <a:pt x="5850" y="1493"/>
                </a:lnTo>
                <a:lnTo>
                  <a:pt x="5850" y="1554"/>
                </a:lnTo>
                <a:lnTo>
                  <a:pt x="5948" y="1554"/>
                </a:lnTo>
                <a:lnTo>
                  <a:pt x="5948" y="1664"/>
                </a:lnTo>
                <a:lnTo>
                  <a:pt x="5850" y="1664"/>
                </a:lnTo>
                <a:lnTo>
                  <a:pt x="5850" y="1713"/>
                </a:lnTo>
                <a:lnTo>
                  <a:pt x="5948" y="1713"/>
                </a:lnTo>
                <a:lnTo>
                  <a:pt x="5948" y="1824"/>
                </a:lnTo>
                <a:lnTo>
                  <a:pt x="5850" y="1824"/>
                </a:lnTo>
                <a:lnTo>
                  <a:pt x="5850" y="1885"/>
                </a:lnTo>
                <a:lnTo>
                  <a:pt x="5948" y="1885"/>
                </a:lnTo>
                <a:lnTo>
                  <a:pt x="5948" y="1995"/>
                </a:lnTo>
                <a:lnTo>
                  <a:pt x="5850" y="1995"/>
                </a:lnTo>
                <a:lnTo>
                  <a:pt x="5850" y="2044"/>
                </a:lnTo>
                <a:lnTo>
                  <a:pt x="5948" y="2044"/>
                </a:lnTo>
                <a:lnTo>
                  <a:pt x="5948" y="2154"/>
                </a:lnTo>
                <a:lnTo>
                  <a:pt x="5850" y="2154"/>
                </a:lnTo>
                <a:lnTo>
                  <a:pt x="5850" y="2215"/>
                </a:lnTo>
                <a:lnTo>
                  <a:pt x="5948" y="2215"/>
                </a:lnTo>
                <a:lnTo>
                  <a:pt x="5948" y="2325"/>
                </a:lnTo>
                <a:lnTo>
                  <a:pt x="5850" y="2325"/>
                </a:lnTo>
                <a:lnTo>
                  <a:pt x="5850" y="2374"/>
                </a:lnTo>
                <a:lnTo>
                  <a:pt x="5948" y="2374"/>
                </a:lnTo>
                <a:lnTo>
                  <a:pt x="5948" y="2484"/>
                </a:lnTo>
                <a:lnTo>
                  <a:pt x="5850" y="2484"/>
                </a:lnTo>
                <a:lnTo>
                  <a:pt x="5850" y="2546"/>
                </a:lnTo>
                <a:lnTo>
                  <a:pt x="5948" y="2546"/>
                </a:lnTo>
                <a:lnTo>
                  <a:pt x="5948" y="2656"/>
                </a:lnTo>
                <a:lnTo>
                  <a:pt x="5850" y="2656"/>
                </a:lnTo>
                <a:lnTo>
                  <a:pt x="5850" y="2705"/>
                </a:lnTo>
                <a:lnTo>
                  <a:pt x="5948" y="2705"/>
                </a:lnTo>
                <a:lnTo>
                  <a:pt x="5948" y="2815"/>
                </a:lnTo>
                <a:lnTo>
                  <a:pt x="5850" y="2815"/>
                </a:lnTo>
                <a:lnTo>
                  <a:pt x="5850" y="2876"/>
                </a:lnTo>
                <a:lnTo>
                  <a:pt x="5948" y="2876"/>
                </a:lnTo>
                <a:lnTo>
                  <a:pt x="5948" y="2974"/>
                </a:lnTo>
                <a:lnTo>
                  <a:pt x="5740" y="2974"/>
                </a:lnTo>
                <a:lnTo>
                  <a:pt x="5740" y="3329"/>
                </a:lnTo>
                <a:lnTo>
                  <a:pt x="5569" y="3243"/>
                </a:lnTo>
                <a:lnTo>
                  <a:pt x="5373" y="3341"/>
                </a:lnTo>
                <a:lnTo>
                  <a:pt x="5373" y="3341"/>
                </a:lnTo>
                <a:lnTo>
                  <a:pt x="5312" y="3341"/>
                </a:lnTo>
                <a:lnTo>
                  <a:pt x="5312" y="3207"/>
                </a:lnTo>
                <a:lnTo>
                  <a:pt x="5373" y="3207"/>
                </a:lnTo>
                <a:lnTo>
                  <a:pt x="5373" y="3182"/>
                </a:lnTo>
                <a:lnTo>
                  <a:pt x="5312" y="3182"/>
                </a:lnTo>
                <a:lnTo>
                  <a:pt x="5312" y="3047"/>
                </a:lnTo>
                <a:lnTo>
                  <a:pt x="5373" y="3047"/>
                </a:lnTo>
                <a:lnTo>
                  <a:pt x="5373" y="3023"/>
                </a:lnTo>
                <a:lnTo>
                  <a:pt x="5312" y="3023"/>
                </a:lnTo>
                <a:lnTo>
                  <a:pt x="5312" y="2901"/>
                </a:lnTo>
                <a:lnTo>
                  <a:pt x="5275" y="2901"/>
                </a:lnTo>
                <a:lnTo>
                  <a:pt x="5275" y="3023"/>
                </a:lnTo>
                <a:lnTo>
                  <a:pt x="5189" y="3023"/>
                </a:lnTo>
                <a:lnTo>
                  <a:pt x="5189" y="2962"/>
                </a:lnTo>
                <a:lnTo>
                  <a:pt x="5165" y="2962"/>
                </a:lnTo>
                <a:lnTo>
                  <a:pt x="5165" y="2876"/>
                </a:lnTo>
                <a:lnTo>
                  <a:pt x="5238" y="2876"/>
                </a:lnTo>
                <a:lnTo>
                  <a:pt x="5238" y="3023"/>
                </a:lnTo>
                <a:lnTo>
                  <a:pt x="5275" y="3023"/>
                </a:lnTo>
                <a:lnTo>
                  <a:pt x="5275" y="2876"/>
                </a:lnTo>
                <a:lnTo>
                  <a:pt x="5336" y="2876"/>
                </a:lnTo>
                <a:lnTo>
                  <a:pt x="5336" y="2839"/>
                </a:lnTo>
                <a:lnTo>
                  <a:pt x="5275" y="2839"/>
                </a:lnTo>
                <a:lnTo>
                  <a:pt x="5275" y="2705"/>
                </a:lnTo>
                <a:lnTo>
                  <a:pt x="5336" y="2705"/>
                </a:lnTo>
                <a:lnTo>
                  <a:pt x="5336" y="2680"/>
                </a:lnTo>
                <a:lnTo>
                  <a:pt x="5275" y="2680"/>
                </a:lnTo>
                <a:lnTo>
                  <a:pt x="5275" y="2546"/>
                </a:lnTo>
                <a:lnTo>
                  <a:pt x="5336" y="2546"/>
                </a:lnTo>
                <a:lnTo>
                  <a:pt x="5336" y="2509"/>
                </a:lnTo>
                <a:lnTo>
                  <a:pt x="5275" y="2509"/>
                </a:lnTo>
                <a:lnTo>
                  <a:pt x="5275" y="2374"/>
                </a:lnTo>
                <a:lnTo>
                  <a:pt x="5336" y="2374"/>
                </a:lnTo>
                <a:lnTo>
                  <a:pt x="5336" y="2350"/>
                </a:lnTo>
                <a:lnTo>
                  <a:pt x="5275" y="2350"/>
                </a:lnTo>
                <a:lnTo>
                  <a:pt x="5275" y="2240"/>
                </a:lnTo>
                <a:lnTo>
                  <a:pt x="5324" y="2240"/>
                </a:lnTo>
                <a:lnTo>
                  <a:pt x="5324" y="2203"/>
                </a:lnTo>
                <a:lnTo>
                  <a:pt x="5275" y="2203"/>
                </a:lnTo>
                <a:lnTo>
                  <a:pt x="5275" y="2081"/>
                </a:lnTo>
                <a:lnTo>
                  <a:pt x="5324" y="2081"/>
                </a:lnTo>
                <a:lnTo>
                  <a:pt x="5324" y="2044"/>
                </a:lnTo>
                <a:lnTo>
                  <a:pt x="5275" y="2044"/>
                </a:lnTo>
                <a:lnTo>
                  <a:pt x="5275" y="1909"/>
                </a:lnTo>
                <a:lnTo>
                  <a:pt x="5324" y="1909"/>
                </a:lnTo>
                <a:lnTo>
                  <a:pt x="5324" y="1885"/>
                </a:lnTo>
                <a:lnTo>
                  <a:pt x="5275" y="1885"/>
                </a:lnTo>
                <a:lnTo>
                  <a:pt x="5275" y="1750"/>
                </a:lnTo>
                <a:lnTo>
                  <a:pt x="5324" y="1750"/>
                </a:lnTo>
                <a:lnTo>
                  <a:pt x="5324" y="1713"/>
                </a:lnTo>
                <a:lnTo>
                  <a:pt x="5275" y="1713"/>
                </a:lnTo>
                <a:lnTo>
                  <a:pt x="5275" y="1456"/>
                </a:lnTo>
                <a:lnTo>
                  <a:pt x="5238" y="1456"/>
                </a:lnTo>
                <a:lnTo>
                  <a:pt x="5238" y="1713"/>
                </a:lnTo>
                <a:lnTo>
                  <a:pt x="5165" y="1713"/>
                </a:lnTo>
                <a:lnTo>
                  <a:pt x="5165" y="1542"/>
                </a:lnTo>
                <a:lnTo>
                  <a:pt x="5128" y="1542"/>
                </a:lnTo>
                <a:lnTo>
                  <a:pt x="5128" y="1713"/>
                </a:lnTo>
                <a:lnTo>
                  <a:pt x="4957" y="1713"/>
                </a:lnTo>
                <a:lnTo>
                  <a:pt x="4957" y="1456"/>
                </a:lnTo>
                <a:lnTo>
                  <a:pt x="4932" y="1456"/>
                </a:lnTo>
                <a:lnTo>
                  <a:pt x="4932" y="1713"/>
                </a:lnTo>
                <a:lnTo>
                  <a:pt x="4847" y="1713"/>
                </a:lnTo>
                <a:lnTo>
                  <a:pt x="4847" y="1542"/>
                </a:lnTo>
                <a:lnTo>
                  <a:pt x="4810" y="1542"/>
                </a:lnTo>
                <a:lnTo>
                  <a:pt x="4810" y="1713"/>
                </a:lnTo>
                <a:lnTo>
                  <a:pt x="4638" y="1713"/>
                </a:lnTo>
                <a:lnTo>
                  <a:pt x="4638" y="1456"/>
                </a:lnTo>
                <a:lnTo>
                  <a:pt x="4614" y="1456"/>
                </a:lnTo>
                <a:lnTo>
                  <a:pt x="4614" y="1713"/>
                </a:lnTo>
                <a:lnTo>
                  <a:pt x="4528" y="1713"/>
                </a:lnTo>
                <a:lnTo>
                  <a:pt x="4528" y="1701"/>
                </a:lnTo>
                <a:lnTo>
                  <a:pt x="4492" y="1701"/>
                </a:lnTo>
                <a:lnTo>
                  <a:pt x="4492" y="1713"/>
                </a:lnTo>
                <a:lnTo>
                  <a:pt x="4455" y="1713"/>
                </a:lnTo>
                <a:lnTo>
                  <a:pt x="4455" y="1750"/>
                </a:lnTo>
                <a:lnTo>
                  <a:pt x="4492" y="1750"/>
                </a:lnTo>
                <a:lnTo>
                  <a:pt x="4492" y="1885"/>
                </a:lnTo>
                <a:lnTo>
                  <a:pt x="4455" y="1885"/>
                </a:lnTo>
                <a:lnTo>
                  <a:pt x="4455" y="1909"/>
                </a:lnTo>
                <a:lnTo>
                  <a:pt x="4492" y="1909"/>
                </a:lnTo>
                <a:lnTo>
                  <a:pt x="4492" y="2044"/>
                </a:lnTo>
                <a:lnTo>
                  <a:pt x="4455" y="2044"/>
                </a:lnTo>
                <a:lnTo>
                  <a:pt x="4455" y="2081"/>
                </a:lnTo>
                <a:lnTo>
                  <a:pt x="4492" y="2081"/>
                </a:lnTo>
                <a:lnTo>
                  <a:pt x="4492" y="2203"/>
                </a:lnTo>
                <a:lnTo>
                  <a:pt x="4455" y="2203"/>
                </a:lnTo>
                <a:lnTo>
                  <a:pt x="4455" y="2240"/>
                </a:lnTo>
                <a:lnTo>
                  <a:pt x="4492" y="2240"/>
                </a:lnTo>
                <a:lnTo>
                  <a:pt x="4492" y="2350"/>
                </a:lnTo>
                <a:lnTo>
                  <a:pt x="4455" y="2350"/>
                </a:lnTo>
                <a:lnTo>
                  <a:pt x="4455" y="2374"/>
                </a:lnTo>
                <a:lnTo>
                  <a:pt x="4492" y="2374"/>
                </a:lnTo>
                <a:lnTo>
                  <a:pt x="4492" y="2509"/>
                </a:lnTo>
                <a:lnTo>
                  <a:pt x="4455" y="2509"/>
                </a:lnTo>
                <a:lnTo>
                  <a:pt x="4455" y="2546"/>
                </a:lnTo>
                <a:lnTo>
                  <a:pt x="4492" y="2546"/>
                </a:lnTo>
                <a:lnTo>
                  <a:pt x="4492" y="2680"/>
                </a:lnTo>
                <a:lnTo>
                  <a:pt x="4455" y="2680"/>
                </a:lnTo>
                <a:lnTo>
                  <a:pt x="4455" y="2705"/>
                </a:lnTo>
                <a:lnTo>
                  <a:pt x="4492" y="2705"/>
                </a:lnTo>
                <a:lnTo>
                  <a:pt x="4492" y="2839"/>
                </a:lnTo>
                <a:lnTo>
                  <a:pt x="4455" y="2839"/>
                </a:lnTo>
                <a:lnTo>
                  <a:pt x="4455" y="2876"/>
                </a:lnTo>
                <a:lnTo>
                  <a:pt x="4492" y="2876"/>
                </a:lnTo>
                <a:lnTo>
                  <a:pt x="4492" y="3023"/>
                </a:lnTo>
                <a:lnTo>
                  <a:pt x="4528" y="3023"/>
                </a:lnTo>
                <a:lnTo>
                  <a:pt x="4528" y="2876"/>
                </a:lnTo>
                <a:lnTo>
                  <a:pt x="4614" y="2876"/>
                </a:lnTo>
                <a:lnTo>
                  <a:pt x="4614" y="2901"/>
                </a:lnTo>
                <a:lnTo>
                  <a:pt x="4590" y="2901"/>
                </a:lnTo>
                <a:lnTo>
                  <a:pt x="4590" y="3023"/>
                </a:lnTo>
                <a:lnTo>
                  <a:pt x="4418" y="3023"/>
                </a:lnTo>
                <a:lnTo>
                  <a:pt x="4418" y="3047"/>
                </a:lnTo>
                <a:lnTo>
                  <a:pt x="4590" y="3047"/>
                </a:lnTo>
                <a:lnTo>
                  <a:pt x="4590" y="3182"/>
                </a:lnTo>
                <a:lnTo>
                  <a:pt x="4504" y="3182"/>
                </a:lnTo>
                <a:lnTo>
                  <a:pt x="4504" y="3060"/>
                </a:lnTo>
                <a:lnTo>
                  <a:pt x="4467" y="3060"/>
                </a:lnTo>
                <a:lnTo>
                  <a:pt x="4467" y="3182"/>
                </a:lnTo>
                <a:lnTo>
                  <a:pt x="4418" y="3182"/>
                </a:lnTo>
                <a:lnTo>
                  <a:pt x="4418" y="3207"/>
                </a:lnTo>
                <a:lnTo>
                  <a:pt x="4467" y="3207"/>
                </a:lnTo>
                <a:lnTo>
                  <a:pt x="4467" y="3341"/>
                </a:lnTo>
                <a:lnTo>
                  <a:pt x="4418" y="3341"/>
                </a:lnTo>
                <a:lnTo>
                  <a:pt x="4418" y="3378"/>
                </a:lnTo>
                <a:lnTo>
                  <a:pt x="4467" y="3378"/>
                </a:lnTo>
                <a:lnTo>
                  <a:pt x="4467" y="3464"/>
                </a:lnTo>
                <a:lnTo>
                  <a:pt x="4455" y="3464"/>
                </a:lnTo>
                <a:lnTo>
                  <a:pt x="4455" y="3500"/>
                </a:lnTo>
                <a:lnTo>
                  <a:pt x="4467" y="3500"/>
                </a:lnTo>
                <a:lnTo>
                  <a:pt x="4467" y="3525"/>
                </a:lnTo>
                <a:lnTo>
                  <a:pt x="4418" y="3525"/>
                </a:lnTo>
                <a:lnTo>
                  <a:pt x="4418" y="3549"/>
                </a:lnTo>
                <a:lnTo>
                  <a:pt x="4467" y="3549"/>
                </a:lnTo>
                <a:lnTo>
                  <a:pt x="4467" y="3549"/>
                </a:lnTo>
                <a:lnTo>
                  <a:pt x="4455" y="3549"/>
                </a:lnTo>
                <a:lnTo>
                  <a:pt x="4455" y="3586"/>
                </a:lnTo>
                <a:lnTo>
                  <a:pt x="4467" y="3586"/>
                </a:lnTo>
                <a:lnTo>
                  <a:pt x="4467" y="3659"/>
                </a:lnTo>
                <a:lnTo>
                  <a:pt x="4467" y="3659"/>
                </a:lnTo>
                <a:lnTo>
                  <a:pt x="4467" y="3684"/>
                </a:lnTo>
                <a:lnTo>
                  <a:pt x="4418" y="3684"/>
                </a:lnTo>
                <a:lnTo>
                  <a:pt x="4418" y="3708"/>
                </a:lnTo>
                <a:lnTo>
                  <a:pt x="4467" y="3708"/>
                </a:lnTo>
                <a:lnTo>
                  <a:pt x="4467" y="3745"/>
                </a:lnTo>
                <a:lnTo>
                  <a:pt x="4467" y="3745"/>
                </a:lnTo>
                <a:lnTo>
                  <a:pt x="4467" y="3782"/>
                </a:lnTo>
                <a:lnTo>
                  <a:pt x="4467" y="3782"/>
                </a:lnTo>
                <a:lnTo>
                  <a:pt x="4467" y="3818"/>
                </a:lnTo>
                <a:lnTo>
                  <a:pt x="4320" y="3818"/>
                </a:lnTo>
                <a:lnTo>
                  <a:pt x="4320" y="3806"/>
                </a:lnTo>
                <a:lnTo>
                  <a:pt x="4320" y="3721"/>
                </a:lnTo>
                <a:lnTo>
                  <a:pt x="4320" y="3439"/>
                </a:lnTo>
                <a:lnTo>
                  <a:pt x="4320" y="3366"/>
                </a:lnTo>
                <a:lnTo>
                  <a:pt x="4320" y="3072"/>
                </a:lnTo>
                <a:lnTo>
                  <a:pt x="4320" y="2998"/>
                </a:lnTo>
                <a:lnTo>
                  <a:pt x="4320" y="2717"/>
                </a:lnTo>
                <a:lnTo>
                  <a:pt x="4320" y="2705"/>
                </a:lnTo>
                <a:lnTo>
                  <a:pt x="4418" y="2705"/>
                </a:lnTo>
                <a:lnTo>
                  <a:pt x="4418" y="2215"/>
                </a:lnTo>
                <a:lnTo>
                  <a:pt x="4296" y="2215"/>
                </a:lnTo>
                <a:lnTo>
                  <a:pt x="4296" y="2154"/>
                </a:lnTo>
                <a:lnTo>
                  <a:pt x="4369" y="2154"/>
                </a:lnTo>
                <a:lnTo>
                  <a:pt x="4369" y="2117"/>
                </a:lnTo>
                <a:lnTo>
                  <a:pt x="4296" y="2117"/>
                </a:lnTo>
                <a:lnTo>
                  <a:pt x="4296" y="2056"/>
                </a:lnTo>
                <a:lnTo>
                  <a:pt x="4369" y="2056"/>
                </a:lnTo>
                <a:lnTo>
                  <a:pt x="4369" y="2032"/>
                </a:lnTo>
                <a:lnTo>
                  <a:pt x="4296" y="2032"/>
                </a:lnTo>
                <a:lnTo>
                  <a:pt x="4296" y="1970"/>
                </a:lnTo>
                <a:lnTo>
                  <a:pt x="4369" y="1970"/>
                </a:lnTo>
                <a:lnTo>
                  <a:pt x="4369" y="1934"/>
                </a:lnTo>
                <a:lnTo>
                  <a:pt x="4296" y="1934"/>
                </a:lnTo>
                <a:lnTo>
                  <a:pt x="4296" y="1872"/>
                </a:lnTo>
                <a:lnTo>
                  <a:pt x="4369" y="1872"/>
                </a:lnTo>
                <a:lnTo>
                  <a:pt x="4369" y="1836"/>
                </a:lnTo>
                <a:lnTo>
                  <a:pt x="4296" y="1836"/>
                </a:lnTo>
                <a:lnTo>
                  <a:pt x="4296" y="1775"/>
                </a:lnTo>
                <a:lnTo>
                  <a:pt x="4369" y="1775"/>
                </a:lnTo>
                <a:lnTo>
                  <a:pt x="4369" y="1738"/>
                </a:lnTo>
                <a:lnTo>
                  <a:pt x="4296" y="1738"/>
                </a:lnTo>
                <a:lnTo>
                  <a:pt x="4296" y="1677"/>
                </a:lnTo>
                <a:lnTo>
                  <a:pt x="4369" y="1677"/>
                </a:lnTo>
                <a:lnTo>
                  <a:pt x="4369" y="1640"/>
                </a:lnTo>
                <a:lnTo>
                  <a:pt x="4296" y="1640"/>
                </a:lnTo>
                <a:lnTo>
                  <a:pt x="4296" y="1579"/>
                </a:lnTo>
                <a:lnTo>
                  <a:pt x="4369" y="1579"/>
                </a:lnTo>
                <a:lnTo>
                  <a:pt x="4369" y="1554"/>
                </a:lnTo>
                <a:lnTo>
                  <a:pt x="4296" y="1554"/>
                </a:lnTo>
                <a:lnTo>
                  <a:pt x="4296" y="1481"/>
                </a:lnTo>
                <a:lnTo>
                  <a:pt x="4369" y="1481"/>
                </a:lnTo>
                <a:lnTo>
                  <a:pt x="4369" y="1456"/>
                </a:lnTo>
                <a:lnTo>
                  <a:pt x="4296" y="1456"/>
                </a:lnTo>
                <a:lnTo>
                  <a:pt x="4296" y="1395"/>
                </a:lnTo>
                <a:lnTo>
                  <a:pt x="4369" y="1395"/>
                </a:lnTo>
                <a:lnTo>
                  <a:pt x="4369" y="1358"/>
                </a:lnTo>
                <a:lnTo>
                  <a:pt x="4296" y="1358"/>
                </a:lnTo>
                <a:lnTo>
                  <a:pt x="4296" y="1297"/>
                </a:lnTo>
                <a:lnTo>
                  <a:pt x="4369" y="1297"/>
                </a:lnTo>
                <a:lnTo>
                  <a:pt x="4369" y="1261"/>
                </a:lnTo>
                <a:lnTo>
                  <a:pt x="4296" y="1261"/>
                </a:lnTo>
                <a:lnTo>
                  <a:pt x="4296" y="1163"/>
                </a:lnTo>
                <a:lnTo>
                  <a:pt x="4271" y="1163"/>
                </a:lnTo>
                <a:lnTo>
                  <a:pt x="4271" y="1261"/>
                </a:lnTo>
                <a:lnTo>
                  <a:pt x="4137" y="1261"/>
                </a:lnTo>
                <a:lnTo>
                  <a:pt x="4137" y="1114"/>
                </a:lnTo>
                <a:lnTo>
                  <a:pt x="4039" y="1114"/>
                </a:lnTo>
                <a:lnTo>
                  <a:pt x="4039" y="1261"/>
                </a:lnTo>
                <a:lnTo>
                  <a:pt x="3904" y="1261"/>
                </a:lnTo>
                <a:lnTo>
                  <a:pt x="3904" y="1163"/>
                </a:lnTo>
                <a:lnTo>
                  <a:pt x="3892" y="1163"/>
                </a:lnTo>
                <a:lnTo>
                  <a:pt x="3892" y="1261"/>
                </a:lnTo>
                <a:lnTo>
                  <a:pt x="3831" y="1261"/>
                </a:lnTo>
                <a:lnTo>
                  <a:pt x="3831" y="1297"/>
                </a:lnTo>
                <a:lnTo>
                  <a:pt x="3892" y="1297"/>
                </a:lnTo>
                <a:lnTo>
                  <a:pt x="3892" y="1358"/>
                </a:lnTo>
                <a:lnTo>
                  <a:pt x="3831" y="1358"/>
                </a:lnTo>
                <a:lnTo>
                  <a:pt x="3831" y="1395"/>
                </a:lnTo>
                <a:lnTo>
                  <a:pt x="3892" y="1395"/>
                </a:lnTo>
                <a:lnTo>
                  <a:pt x="3892" y="1456"/>
                </a:lnTo>
                <a:lnTo>
                  <a:pt x="3831" y="1456"/>
                </a:lnTo>
                <a:lnTo>
                  <a:pt x="3831" y="1481"/>
                </a:lnTo>
                <a:lnTo>
                  <a:pt x="3892" y="1481"/>
                </a:lnTo>
                <a:lnTo>
                  <a:pt x="3892" y="1554"/>
                </a:lnTo>
                <a:lnTo>
                  <a:pt x="3831" y="1554"/>
                </a:lnTo>
                <a:lnTo>
                  <a:pt x="3831" y="1579"/>
                </a:lnTo>
                <a:lnTo>
                  <a:pt x="3892" y="1579"/>
                </a:lnTo>
                <a:lnTo>
                  <a:pt x="3892" y="1640"/>
                </a:lnTo>
                <a:lnTo>
                  <a:pt x="3831" y="1640"/>
                </a:lnTo>
                <a:lnTo>
                  <a:pt x="3831" y="1677"/>
                </a:lnTo>
                <a:lnTo>
                  <a:pt x="3892" y="1677"/>
                </a:lnTo>
                <a:lnTo>
                  <a:pt x="3892" y="1738"/>
                </a:lnTo>
                <a:lnTo>
                  <a:pt x="3831" y="1738"/>
                </a:lnTo>
                <a:lnTo>
                  <a:pt x="3831" y="1775"/>
                </a:lnTo>
                <a:lnTo>
                  <a:pt x="3892" y="1775"/>
                </a:lnTo>
                <a:lnTo>
                  <a:pt x="3892" y="1836"/>
                </a:lnTo>
                <a:lnTo>
                  <a:pt x="3831" y="1836"/>
                </a:lnTo>
                <a:lnTo>
                  <a:pt x="3831" y="1872"/>
                </a:lnTo>
                <a:lnTo>
                  <a:pt x="3892" y="1872"/>
                </a:lnTo>
                <a:lnTo>
                  <a:pt x="3892" y="1934"/>
                </a:lnTo>
                <a:lnTo>
                  <a:pt x="3831" y="1934"/>
                </a:lnTo>
                <a:lnTo>
                  <a:pt x="3831" y="1970"/>
                </a:lnTo>
                <a:lnTo>
                  <a:pt x="3892" y="1970"/>
                </a:lnTo>
                <a:lnTo>
                  <a:pt x="3892" y="2032"/>
                </a:lnTo>
                <a:lnTo>
                  <a:pt x="3831" y="2032"/>
                </a:lnTo>
                <a:lnTo>
                  <a:pt x="3831" y="2056"/>
                </a:lnTo>
                <a:lnTo>
                  <a:pt x="3892" y="2056"/>
                </a:lnTo>
                <a:lnTo>
                  <a:pt x="3892" y="2117"/>
                </a:lnTo>
                <a:lnTo>
                  <a:pt x="3831" y="2117"/>
                </a:lnTo>
                <a:lnTo>
                  <a:pt x="3831" y="2154"/>
                </a:lnTo>
                <a:lnTo>
                  <a:pt x="3892" y="2154"/>
                </a:lnTo>
                <a:lnTo>
                  <a:pt x="3892" y="2215"/>
                </a:lnTo>
                <a:lnTo>
                  <a:pt x="3769" y="2215"/>
                </a:lnTo>
                <a:lnTo>
                  <a:pt x="3769" y="2705"/>
                </a:lnTo>
                <a:lnTo>
                  <a:pt x="3855" y="2705"/>
                </a:lnTo>
                <a:lnTo>
                  <a:pt x="3855" y="3818"/>
                </a:lnTo>
                <a:lnTo>
                  <a:pt x="3696" y="3818"/>
                </a:lnTo>
                <a:lnTo>
                  <a:pt x="3696" y="3402"/>
                </a:lnTo>
                <a:lnTo>
                  <a:pt x="3610" y="3402"/>
                </a:lnTo>
                <a:lnTo>
                  <a:pt x="3610" y="3304"/>
                </a:lnTo>
                <a:lnTo>
                  <a:pt x="3696" y="3304"/>
                </a:lnTo>
                <a:lnTo>
                  <a:pt x="3696" y="3280"/>
                </a:lnTo>
                <a:lnTo>
                  <a:pt x="3610" y="3280"/>
                </a:lnTo>
                <a:lnTo>
                  <a:pt x="3610" y="3158"/>
                </a:lnTo>
                <a:lnTo>
                  <a:pt x="3696" y="3158"/>
                </a:lnTo>
                <a:lnTo>
                  <a:pt x="3696" y="3121"/>
                </a:lnTo>
                <a:lnTo>
                  <a:pt x="3610" y="3121"/>
                </a:lnTo>
                <a:lnTo>
                  <a:pt x="3610" y="2998"/>
                </a:lnTo>
                <a:lnTo>
                  <a:pt x="3696" y="2998"/>
                </a:lnTo>
                <a:lnTo>
                  <a:pt x="3696" y="2974"/>
                </a:lnTo>
                <a:lnTo>
                  <a:pt x="3610" y="2974"/>
                </a:lnTo>
                <a:lnTo>
                  <a:pt x="3610" y="2852"/>
                </a:lnTo>
                <a:lnTo>
                  <a:pt x="3696" y="2852"/>
                </a:lnTo>
                <a:lnTo>
                  <a:pt x="3696" y="2815"/>
                </a:lnTo>
                <a:lnTo>
                  <a:pt x="3610" y="2815"/>
                </a:lnTo>
                <a:lnTo>
                  <a:pt x="3610" y="2680"/>
                </a:lnTo>
                <a:lnTo>
                  <a:pt x="3696" y="2680"/>
                </a:lnTo>
                <a:lnTo>
                  <a:pt x="3696" y="2656"/>
                </a:lnTo>
                <a:lnTo>
                  <a:pt x="3610" y="2656"/>
                </a:lnTo>
                <a:lnTo>
                  <a:pt x="3610" y="2509"/>
                </a:lnTo>
                <a:lnTo>
                  <a:pt x="3696" y="2509"/>
                </a:lnTo>
                <a:lnTo>
                  <a:pt x="3696" y="2484"/>
                </a:lnTo>
                <a:lnTo>
                  <a:pt x="3610" y="2484"/>
                </a:lnTo>
                <a:lnTo>
                  <a:pt x="3610" y="2276"/>
                </a:lnTo>
                <a:lnTo>
                  <a:pt x="3561" y="2276"/>
                </a:lnTo>
                <a:lnTo>
                  <a:pt x="3561" y="2484"/>
                </a:lnTo>
                <a:lnTo>
                  <a:pt x="3390" y="2484"/>
                </a:lnTo>
                <a:lnTo>
                  <a:pt x="3390" y="2276"/>
                </a:lnTo>
                <a:lnTo>
                  <a:pt x="3329" y="2276"/>
                </a:lnTo>
                <a:lnTo>
                  <a:pt x="3329" y="2484"/>
                </a:lnTo>
                <a:lnTo>
                  <a:pt x="3158" y="2484"/>
                </a:lnTo>
                <a:lnTo>
                  <a:pt x="3158" y="2276"/>
                </a:lnTo>
                <a:lnTo>
                  <a:pt x="3109" y="2276"/>
                </a:lnTo>
                <a:lnTo>
                  <a:pt x="3109" y="2484"/>
                </a:lnTo>
                <a:lnTo>
                  <a:pt x="2937" y="2484"/>
                </a:lnTo>
                <a:lnTo>
                  <a:pt x="2937" y="2276"/>
                </a:lnTo>
                <a:lnTo>
                  <a:pt x="2876" y="2276"/>
                </a:lnTo>
                <a:lnTo>
                  <a:pt x="2876" y="2607"/>
                </a:lnTo>
                <a:lnTo>
                  <a:pt x="2717" y="2607"/>
                </a:lnTo>
                <a:lnTo>
                  <a:pt x="2717" y="2276"/>
                </a:lnTo>
                <a:lnTo>
                  <a:pt x="2656" y="2276"/>
                </a:lnTo>
                <a:lnTo>
                  <a:pt x="2656" y="2692"/>
                </a:lnTo>
                <a:lnTo>
                  <a:pt x="2484" y="2692"/>
                </a:lnTo>
                <a:lnTo>
                  <a:pt x="2484" y="2276"/>
                </a:lnTo>
                <a:lnTo>
                  <a:pt x="2423" y="2276"/>
                </a:lnTo>
                <a:lnTo>
                  <a:pt x="2423" y="2815"/>
                </a:lnTo>
                <a:lnTo>
                  <a:pt x="2264" y="2815"/>
                </a:lnTo>
                <a:lnTo>
                  <a:pt x="2264" y="2276"/>
                </a:lnTo>
                <a:lnTo>
                  <a:pt x="2203" y="2276"/>
                </a:lnTo>
                <a:lnTo>
                  <a:pt x="2203" y="2815"/>
                </a:lnTo>
                <a:lnTo>
                  <a:pt x="2068" y="2815"/>
                </a:lnTo>
                <a:lnTo>
                  <a:pt x="2068" y="2852"/>
                </a:lnTo>
                <a:lnTo>
                  <a:pt x="2203" y="2852"/>
                </a:lnTo>
                <a:lnTo>
                  <a:pt x="2203" y="2974"/>
                </a:lnTo>
                <a:lnTo>
                  <a:pt x="2068" y="2974"/>
                </a:lnTo>
                <a:lnTo>
                  <a:pt x="2068" y="2998"/>
                </a:lnTo>
                <a:lnTo>
                  <a:pt x="2203" y="2998"/>
                </a:lnTo>
                <a:lnTo>
                  <a:pt x="2203" y="3121"/>
                </a:lnTo>
                <a:lnTo>
                  <a:pt x="2068" y="3121"/>
                </a:lnTo>
                <a:lnTo>
                  <a:pt x="2068" y="3158"/>
                </a:lnTo>
                <a:lnTo>
                  <a:pt x="2203" y="3158"/>
                </a:lnTo>
                <a:lnTo>
                  <a:pt x="2203" y="3280"/>
                </a:lnTo>
                <a:lnTo>
                  <a:pt x="2068" y="3280"/>
                </a:lnTo>
                <a:lnTo>
                  <a:pt x="2068" y="3304"/>
                </a:lnTo>
                <a:lnTo>
                  <a:pt x="2203" y="3304"/>
                </a:lnTo>
                <a:lnTo>
                  <a:pt x="2203" y="3402"/>
                </a:lnTo>
                <a:lnTo>
                  <a:pt x="2068" y="3402"/>
                </a:lnTo>
                <a:lnTo>
                  <a:pt x="2068" y="3818"/>
                </a:lnTo>
                <a:lnTo>
                  <a:pt x="2044" y="3818"/>
                </a:lnTo>
                <a:lnTo>
                  <a:pt x="2044" y="3610"/>
                </a:lnTo>
                <a:lnTo>
                  <a:pt x="2044" y="3549"/>
                </a:lnTo>
                <a:lnTo>
                  <a:pt x="2044" y="3329"/>
                </a:lnTo>
                <a:lnTo>
                  <a:pt x="2044" y="3280"/>
                </a:lnTo>
                <a:lnTo>
                  <a:pt x="2044" y="3060"/>
                </a:lnTo>
                <a:lnTo>
                  <a:pt x="2044" y="2998"/>
                </a:lnTo>
                <a:lnTo>
                  <a:pt x="2044" y="2925"/>
                </a:lnTo>
                <a:lnTo>
                  <a:pt x="1995" y="2925"/>
                </a:lnTo>
                <a:lnTo>
                  <a:pt x="1995" y="2998"/>
                </a:lnTo>
                <a:lnTo>
                  <a:pt x="1762" y="2998"/>
                </a:lnTo>
                <a:lnTo>
                  <a:pt x="1762" y="2925"/>
                </a:lnTo>
                <a:lnTo>
                  <a:pt x="1701" y="2925"/>
                </a:lnTo>
                <a:lnTo>
                  <a:pt x="1701" y="3818"/>
                </a:lnTo>
                <a:lnTo>
                  <a:pt x="1579" y="3818"/>
                </a:lnTo>
                <a:lnTo>
                  <a:pt x="1579" y="3769"/>
                </a:lnTo>
                <a:lnTo>
                  <a:pt x="1640" y="3769"/>
                </a:lnTo>
                <a:lnTo>
                  <a:pt x="1640" y="3745"/>
                </a:lnTo>
                <a:lnTo>
                  <a:pt x="1579" y="3745"/>
                </a:lnTo>
                <a:lnTo>
                  <a:pt x="1579" y="3610"/>
                </a:lnTo>
                <a:lnTo>
                  <a:pt x="1640" y="3610"/>
                </a:lnTo>
                <a:lnTo>
                  <a:pt x="1640" y="3574"/>
                </a:lnTo>
                <a:lnTo>
                  <a:pt x="1579" y="3574"/>
                </a:lnTo>
                <a:lnTo>
                  <a:pt x="1579" y="3439"/>
                </a:lnTo>
                <a:lnTo>
                  <a:pt x="1640" y="3439"/>
                </a:lnTo>
                <a:lnTo>
                  <a:pt x="1640" y="3415"/>
                </a:lnTo>
                <a:lnTo>
                  <a:pt x="1579" y="3415"/>
                </a:lnTo>
                <a:lnTo>
                  <a:pt x="1579" y="3280"/>
                </a:lnTo>
                <a:lnTo>
                  <a:pt x="1640" y="3280"/>
                </a:lnTo>
                <a:lnTo>
                  <a:pt x="1640" y="3243"/>
                </a:lnTo>
                <a:lnTo>
                  <a:pt x="1579" y="3243"/>
                </a:lnTo>
                <a:lnTo>
                  <a:pt x="1579" y="3145"/>
                </a:lnTo>
                <a:lnTo>
                  <a:pt x="1628" y="3145"/>
                </a:lnTo>
                <a:lnTo>
                  <a:pt x="1628" y="3109"/>
                </a:lnTo>
                <a:lnTo>
                  <a:pt x="1579" y="3109"/>
                </a:lnTo>
                <a:lnTo>
                  <a:pt x="1579" y="2974"/>
                </a:lnTo>
                <a:lnTo>
                  <a:pt x="1628" y="2974"/>
                </a:lnTo>
                <a:lnTo>
                  <a:pt x="1628" y="2949"/>
                </a:lnTo>
                <a:lnTo>
                  <a:pt x="1579" y="2949"/>
                </a:lnTo>
                <a:lnTo>
                  <a:pt x="1579" y="2815"/>
                </a:lnTo>
                <a:lnTo>
                  <a:pt x="1628" y="2815"/>
                </a:lnTo>
                <a:lnTo>
                  <a:pt x="1628" y="2778"/>
                </a:lnTo>
                <a:lnTo>
                  <a:pt x="1579" y="2778"/>
                </a:lnTo>
                <a:lnTo>
                  <a:pt x="1579" y="2644"/>
                </a:lnTo>
                <a:lnTo>
                  <a:pt x="1628" y="2644"/>
                </a:lnTo>
                <a:lnTo>
                  <a:pt x="1628" y="2619"/>
                </a:lnTo>
                <a:lnTo>
                  <a:pt x="1579" y="2619"/>
                </a:lnTo>
                <a:lnTo>
                  <a:pt x="1579" y="2350"/>
                </a:lnTo>
                <a:lnTo>
                  <a:pt x="1542" y="2350"/>
                </a:lnTo>
                <a:lnTo>
                  <a:pt x="1542" y="2619"/>
                </a:lnTo>
                <a:lnTo>
                  <a:pt x="1456" y="2619"/>
                </a:lnTo>
                <a:lnTo>
                  <a:pt x="1456" y="2448"/>
                </a:lnTo>
                <a:lnTo>
                  <a:pt x="1432" y="2448"/>
                </a:lnTo>
                <a:lnTo>
                  <a:pt x="1432" y="2619"/>
                </a:lnTo>
                <a:lnTo>
                  <a:pt x="1358" y="2619"/>
                </a:lnTo>
                <a:lnTo>
                  <a:pt x="1358" y="2644"/>
                </a:lnTo>
                <a:lnTo>
                  <a:pt x="1432" y="2644"/>
                </a:lnTo>
                <a:lnTo>
                  <a:pt x="1432" y="2778"/>
                </a:lnTo>
                <a:lnTo>
                  <a:pt x="1358" y="2778"/>
                </a:lnTo>
                <a:lnTo>
                  <a:pt x="1358" y="2815"/>
                </a:lnTo>
                <a:lnTo>
                  <a:pt x="1432" y="2815"/>
                </a:lnTo>
                <a:lnTo>
                  <a:pt x="1432" y="2949"/>
                </a:lnTo>
                <a:lnTo>
                  <a:pt x="1358" y="2949"/>
                </a:lnTo>
                <a:lnTo>
                  <a:pt x="1358" y="2974"/>
                </a:lnTo>
                <a:lnTo>
                  <a:pt x="1432" y="2974"/>
                </a:lnTo>
                <a:lnTo>
                  <a:pt x="1432" y="3109"/>
                </a:lnTo>
                <a:lnTo>
                  <a:pt x="1358" y="3109"/>
                </a:lnTo>
                <a:lnTo>
                  <a:pt x="1358" y="3145"/>
                </a:lnTo>
                <a:lnTo>
                  <a:pt x="1432" y="3145"/>
                </a:lnTo>
                <a:lnTo>
                  <a:pt x="1432" y="3243"/>
                </a:lnTo>
                <a:lnTo>
                  <a:pt x="1358" y="3243"/>
                </a:lnTo>
                <a:lnTo>
                  <a:pt x="1358" y="3280"/>
                </a:lnTo>
                <a:lnTo>
                  <a:pt x="1432" y="3280"/>
                </a:lnTo>
                <a:lnTo>
                  <a:pt x="1432" y="3415"/>
                </a:lnTo>
                <a:lnTo>
                  <a:pt x="1358" y="3415"/>
                </a:lnTo>
                <a:lnTo>
                  <a:pt x="1358" y="3439"/>
                </a:lnTo>
                <a:lnTo>
                  <a:pt x="1432" y="3439"/>
                </a:lnTo>
                <a:lnTo>
                  <a:pt x="1432" y="3574"/>
                </a:lnTo>
                <a:lnTo>
                  <a:pt x="1358" y="3574"/>
                </a:lnTo>
                <a:lnTo>
                  <a:pt x="1358" y="3610"/>
                </a:lnTo>
                <a:lnTo>
                  <a:pt x="1432" y="3610"/>
                </a:lnTo>
                <a:lnTo>
                  <a:pt x="1432" y="3745"/>
                </a:lnTo>
                <a:lnTo>
                  <a:pt x="1358" y="3745"/>
                </a:lnTo>
                <a:lnTo>
                  <a:pt x="1358" y="3769"/>
                </a:lnTo>
                <a:lnTo>
                  <a:pt x="1432" y="3769"/>
                </a:lnTo>
                <a:lnTo>
                  <a:pt x="1432" y="3818"/>
                </a:lnTo>
                <a:lnTo>
                  <a:pt x="1138" y="3818"/>
                </a:lnTo>
                <a:lnTo>
                  <a:pt x="1138" y="2766"/>
                </a:lnTo>
                <a:lnTo>
                  <a:pt x="1138" y="2680"/>
                </a:lnTo>
                <a:lnTo>
                  <a:pt x="1138" y="1640"/>
                </a:lnTo>
                <a:lnTo>
                  <a:pt x="1065" y="1640"/>
                </a:lnTo>
                <a:lnTo>
                  <a:pt x="1065" y="930"/>
                </a:lnTo>
                <a:lnTo>
                  <a:pt x="1114" y="930"/>
                </a:lnTo>
                <a:lnTo>
                  <a:pt x="1114" y="844"/>
                </a:lnTo>
                <a:lnTo>
                  <a:pt x="1775" y="844"/>
                </a:lnTo>
                <a:lnTo>
                  <a:pt x="1823" y="844"/>
                </a:lnTo>
                <a:lnTo>
                  <a:pt x="2974" y="844"/>
                </a:lnTo>
                <a:lnTo>
                  <a:pt x="2974" y="808"/>
                </a:lnTo>
                <a:lnTo>
                  <a:pt x="2876" y="771"/>
                </a:lnTo>
                <a:lnTo>
                  <a:pt x="2876" y="771"/>
                </a:lnTo>
                <a:lnTo>
                  <a:pt x="930" y="0"/>
                </a:lnTo>
                <a:lnTo>
                  <a:pt x="281" y="600"/>
                </a:lnTo>
                <a:lnTo>
                  <a:pt x="281" y="587"/>
                </a:lnTo>
                <a:lnTo>
                  <a:pt x="0" y="587"/>
                </a:lnTo>
                <a:lnTo>
                  <a:pt x="0" y="893"/>
                </a:lnTo>
                <a:lnTo>
                  <a:pt x="281" y="893"/>
                </a:lnTo>
                <a:lnTo>
                  <a:pt x="281" y="844"/>
                </a:lnTo>
                <a:lnTo>
                  <a:pt x="771" y="844"/>
                </a:lnTo>
                <a:lnTo>
                  <a:pt x="771" y="930"/>
                </a:lnTo>
                <a:lnTo>
                  <a:pt x="820" y="930"/>
                </a:lnTo>
                <a:lnTo>
                  <a:pt x="820" y="967"/>
                </a:lnTo>
                <a:lnTo>
                  <a:pt x="820" y="1016"/>
                </a:lnTo>
                <a:lnTo>
                  <a:pt x="820" y="1163"/>
                </a:lnTo>
                <a:lnTo>
                  <a:pt x="820" y="1212"/>
                </a:lnTo>
                <a:lnTo>
                  <a:pt x="820" y="1371"/>
                </a:lnTo>
                <a:lnTo>
                  <a:pt x="820" y="1407"/>
                </a:lnTo>
                <a:lnTo>
                  <a:pt x="820" y="1640"/>
                </a:lnTo>
                <a:lnTo>
                  <a:pt x="759" y="1640"/>
                </a:lnTo>
                <a:lnTo>
                  <a:pt x="759" y="2680"/>
                </a:lnTo>
                <a:lnTo>
                  <a:pt x="759" y="2766"/>
                </a:lnTo>
                <a:lnTo>
                  <a:pt x="759" y="3818"/>
                </a:lnTo>
                <a:lnTo>
                  <a:pt x="355" y="3818"/>
                </a:lnTo>
                <a:lnTo>
                  <a:pt x="355" y="3990"/>
                </a:lnTo>
                <a:lnTo>
                  <a:pt x="9534" y="3990"/>
                </a:lnTo>
                <a:lnTo>
                  <a:pt x="9534" y="3818"/>
                </a:lnTo>
                <a:lnTo>
                  <a:pt x="9436" y="3818"/>
                </a:lnTo>
                <a:close/>
                <a:moveTo>
                  <a:pt x="5642" y="918"/>
                </a:moveTo>
                <a:lnTo>
                  <a:pt x="5495" y="918"/>
                </a:lnTo>
                <a:lnTo>
                  <a:pt x="5642" y="857"/>
                </a:lnTo>
                <a:lnTo>
                  <a:pt x="5642" y="918"/>
                </a:lnTo>
                <a:close/>
                <a:moveTo>
                  <a:pt x="5679" y="918"/>
                </a:moveTo>
                <a:lnTo>
                  <a:pt x="5679" y="844"/>
                </a:lnTo>
                <a:lnTo>
                  <a:pt x="5691" y="832"/>
                </a:lnTo>
                <a:lnTo>
                  <a:pt x="5777" y="918"/>
                </a:lnTo>
                <a:lnTo>
                  <a:pt x="5679" y="918"/>
                </a:lnTo>
                <a:close/>
                <a:moveTo>
                  <a:pt x="5789" y="906"/>
                </a:moveTo>
                <a:lnTo>
                  <a:pt x="5716" y="820"/>
                </a:lnTo>
                <a:lnTo>
                  <a:pt x="5789" y="795"/>
                </a:lnTo>
                <a:lnTo>
                  <a:pt x="5789" y="906"/>
                </a:lnTo>
                <a:close/>
                <a:moveTo>
                  <a:pt x="5813" y="808"/>
                </a:moveTo>
                <a:lnTo>
                  <a:pt x="5862" y="857"/>
                </a:lnTo>
                <a:lnTo>
                  <a:pt x="5813" y="893"/>
                </a:lnTo>
                <a:lnTo>
                  <a:pt x="5813" y="808"/>
                </a:lnTo>
                <a:close/>
                <a:moveTo>
                  <a:pt x="5838" y="783"/>
                </a:moveTo>
                <a:lnTo>
                  <a:pt x="5924" y="783"/>
                </a:lnTo>
                <a:lnTo>
                  <a:pt x="5875" y="832"/>
                </a:lnTo>
                <a:lnTo>
                  <a:pt x="5838" y="783"/>
                </a:lnTo>
                <a:close/>
                <a:moveTo>
                  <a:pt x="5826" y="918"/>
                </a:moveTo>
                <a:lnTo>
                  <a:pt x="5875" y="869"/>
                </a:lnTo>
                <a:lnTo>
                  <a:pt x="5924" y="918"/>
                </a:lnTo>
                <a:lnTo>
                  <a:pt x="5826" y="918"/>
                </a:lnTo>
                <a:close/>
                <a:moveTo>
                  <a:pt x="5936" y="893"/>
                </a:moveTo>
                <a:lnTo>
                  <a:pt x="5887" y="857"/>
                </a:lnTo>
                <a:lnTo>
                  <a:pt x="5936" y="808"/>
                </a:lnTo>
                <a:lnTo>
                  <a:pt x="5936" y="893"/>
                </a:lnTo>
                <a:close/>
                <a:moveTo>
                  <a:pt x="6009" y="857"/>
                </a:moveTo>
                <a:lnTo>
                  <a:pt x="5960" y="893"/>
                </a:lnTo>
                <a:lnTo>
                  <a:pt x="5960" y="808"/>
                </a:lnTo>
                <a:lnTo>
                  <a:pt x="6009" y="857"/>
                </a:lnTo>
                <a:close/>
                <a:moveTo>
                  <a:pt x="5973" y="783"/>
                </a:moveTo>
                <a:lnTo>
                  <a:pt x="6070" y="783"/>
                </a:lnTo>
                <a:lnTo>
                  <a:pt x="6021" y="832"/>
                </a:lnTo>
                <a:lnTo>
                  <a:pt x="5973" y="783"/>
                </a:lnTo>
                <a:close/>
                <a:moveTo>
                  <a:pt x="5973" y="918"/>
                </a:moveTo>
                <a:lnTo>
                  <a:pt x="6021" y="869"/>
                </a:lnTo>
                <a:lnTo>
                  <a:pt x="6070" y="918"/>
                </a:lnTo>
                <a:lnTo>
                  <a:pt x="5973" y="918"/>
                </a:lnTo>
                <a:close/>
                <a:moveTo>
                  <a:pt x="6083" y="893"/>
                </a:moveTo>
                <a:lnTo>
                  <a:pt x="6034" y="857"/>
                </a:lnTo>
                <a:lnTo>
                  <a:pt x="6083" y="808"/>
                </a:lnTo>
                <a:lnTo>
                  <a:pt x="6083" y="893"/>
                </a:lnTo>
                <a:close/>
                <a:moveTo>
                  <a:pt x="6156" y="857"/>
                </a:moveTo>
                <a:lnTo>
                  <a:pt x="6107" y="893"/>
                </a:lnTo>
                <a:lnTo>
                  <a:pt x="6107" y="808"/>
                </a:lnTo>
                <a:lnTo>
                  <a:pt x="6156" y="857"/>
                </a:lnTo>
                <a:close/>
                <a:moveTo>
                  <a:pt x="6119" y="783"/>
                </a:moveTo>
                <a:lnTo>
                  <a:pt x="6217" y="783"/>
                </a:lnTo>
                <a:lnTo>
                  <a:pt x="6168" y="832"/>
                </a:lnTo>
                <a:lnTo>
                  <a:pt x="6119" y="783"/>
                </a:lnTo>
                <a:close/>
                <a:moveTo>
                  <a:pt x="6119" y="918"/>
                </a:moveTo>
                <a:lnTo>
                  <a:pt x="6168" y="869"/>
                </a:lnTo>
                <a:lnTo>
                  <a:pt x="6217" y="918"/>
                </a:lnTo>
                <a:lnTo>
                  <a:pt x="6119" y="918"/>
                </a:lnTo>
                <a:close/>
                <a:moveTo>
                  <a:pt x="6217" y="893"/>
                </a:moveTo>
                <a:lnTo>
                  <a:pt x="6181" y="857"/>
                </a:lnTo>
                <a:lnTo>
                  <a:pt x="6217" y="808"/>
                </a:lnTo>
                <a:lnTo>
                  <a:pt x="6217" y="893"/>
                </a:lnTo>
                <a:close/>
                <a:moveTo>
                  <a:pt x="6303" y="857"/>
                </a:moveTo>
                <a:lnTo>
                  <a:pt x="6254" y="893"/>
                </a:lnTo>
                <a:lnTo>
                  <a:pt x="6254" y="808"/>
                </a:lnTo>
                <a:lnTo>
                  <a:pt x="6303" y="857"/>
                </a:lnTo>
                <a:close/>
                <a:moveTo>
                  <a:pt x="6266" y="783"/>
                </a:moveTo>
                <a:lnTo>
                  <a:pt x="6352" y="783"/>
                </a:lnTo>
                <a:lnTo>
                  <a:pt x="6315" y="832"/>
                </a:lnTo>
                <a:lnTo>
                  <a:pt x="6266" y="783"/>
                </a:lnTo>
                <a:close/>
                <a:moveTo>
                  <a:pt x="6266" y="918"/>
                </a:moveTo>
                <a:lnTo>
                  <a:pt x="6315" y="869"/>
                </a:lnTo>
                <a:lnTo>
                  <a:pt x="6364" y="918"/>
                </a:lnTo>
                <a:lnTo>
                  <a:pt x="6266" y="918"/>
                </a:lnTo>
                <a:close/>
                <a:moveTo>
                  <a:pt x="6376" y="906"/>
                </a:moveTo>
                <a:lnTo>
                  <a:pt x="6327" y="857"/>
                </a:lnTo>
                <a:lnTo>
                  <a:pt x="6376" y="795"/>
                </a:lnTo>
                <a:lnTo>
                  <a:pt x="6376" y="906"/>
                </a:lnTo>
                <a:close/>
                <a:moveTo>
                  <a:pt x="6450" y="857"/>
                </a:moveTo>
                <a:lnTo>
                  <a:pt x="6401" y="893"/>
                </a:lnTo>
                <a:lnTo>
                  <a:pt x="6401" y="808"/>
                </a:lnTo>
                <a:lnTo>
                  <a:pt x="6450" y="857"/>
                </a:lnTo>
                <a:close/>
                <a:moveTo>
                  <a:pt x="6413" y="783"/>
                </a:moveTo>
                <a:lnTo>
                  <a:pt x="6425" y="783"/>
                </a:lnTo>
                <a:lnTo>
                  <a:pt x="6511" y="783"/>
                </a:lnTo>
                <a:lnTo>
                  <a:pt x="6462" y="832"/>
                </a:lnTo>
                <a:lnTo>
                  <a:pt x="6413" y="783"/>
                </a:lnTo>
                <a:close/>
                <a:moveTo>
                  <a:pt x="6425" y="918"/>
                </a:moveTo>
                <a:lnTo>
                  <a:pt x="6413" y="918"/>
                </a:lnTo>
                <a:lnTo>
                  <a:pt x="6462" y="869"/>
                </a:lnTo>
                <a:lnTo>
                  <a:pt x="6511" y="918"/>
                </a:lnTo>
                <a:lnTo>
                  <a:pt x="6425" y="918"/>
                </a:lnTo>
                <a:close/>
                <a:moveTo>
                  <a:pt x="6523" y="893"/>
                </a:moveTo>
                <a:lnTo>
                  <a:pt x="6474" y="857"/>
                </a:lnTo>
                <a:lnTo>
                  <a:pt x="6523" y="808"/>
                </a:lnTo>
                <a:lnTo>
                  <a:pt x="6523" y="893"/>
                </a:lnTo>
                <a:close/>
                <a:moveTo>
                  <a:pt x="6597" y="857"/>
                </a:moveTo>
                <a:lnTo>
                  <a:pt x="6548" y="893"/>
                </a:lnTo>
                <a:lnTo>
                  <a:pt x="6548" y="808"/>
                </a:lnTo>
                <a:lnTo>
                  <a:pt x="6597" y="857"/>
                </a:lnTo>
                <a:close/>
                <a:moveTo>
                  <a:pt x="6560" y="783"/>
                </a:moveTo>
                <a:lnTo>
                  <a:pt x="6658" y="783"/>
                </a:lnTo>
                <a:lnTo>
                  <a:pt x="6609" y="832"/>
                </a:lnTo>
                <a:lnTo>
                  <a:pt x="6560" y="783"/>
                </a:lnTo>
                <a:close/>
                <a:moveTo>
                  <a:pt x="6560" y="918"/>
                </a:moveTo>
                <a:lnTo>
                  <a:pt x="6609" y="869"/>
                </a:lnTo>
                <a:lnTo>
                  <a:pt x="6658" y="918"/>
                </a:lnTo>
                <a:lnTo>
                  <a:pt x="6560" y="918"/>
                </a:lnTo>
                <a:close/>
                <a:moveTo>
                  <a:pt x="6658" y="893"/>
                </a:moveTo>
                <a:lnTo>
                  <a:pt x="6621" y="857"/>
                </a:lnTo>
                <a:lnTo>
                  <a:pt x="6658" y="808"/>
                </a:lnTo>
                <a:lnTo>
                  <a:pt x="6658" y="893"/>
                </a:lnTo>
                <a:close/>
                <a:moveTo>
                  <a:pt x="6744" y="857"/>
                </a:moveTo>
                <a:lnTo>
                  <a:pt x="6695" y="893"/>
                </a:lnTo>
                <a:lnTo>
                  <a:pt x="6695" y="808"/>
                </a:lnTo>
                <a:lnTo>
                  <a:pt x="6744" y="857"/>
                </a:lnTo>
                <a:close/>
                <a:moveTo>
                  <a:pt x="6707" y="783"/>
                </a:moveTo>
                <a:lnTo>
                  <a:pt x="6793" y="783"/>
                </a:lnTo>
                <a:lnTo>
                  <a:pt x="6756" y="832"/>
                </a:lnTo>
                <a:lnTo>
                  <a:pt x="6707" y="783"/>
                </a:lnTo>
                <a:close/>
                <a:moveTo>
                  <a:pt x="6707" y="918"/>
                </a:moveTo>
                <a:lnTo>
                  <a:pt x="6756" y="869"/>
                </a:lnTo>
                <a:lnTo>
                  <a:pt x="6805" y="918"/>
                </a:lnTo>
                <a:lnTo>
                  <a:pt x="6707" y="918"/>
                </a:lnTo>
                <a:close/>
                <a:moveTo>
                  <a:pt x="6805" y="893"/>
                </a:moveTo>
                <a:lnTo>
                  <a:pt x="6768" y="857"/>
                </a:lnTo>
                <a:lnTo>
                  <a:pt x="6805" y="808"/>
                </a:lnTo>
                <a:lnTo>
                  <a:pt x="6805" y="893"/>
                </a:lnTo>
                <a:close/>
                <a:moveTo>
                  <a:pt x="6878" y="857"/>
                </a:moveTo>
                <a:lnTo>
                  <a:pt x="6842" y="893"/>
                </a:lnTo>
                <a:lnTo>
                  <a:pt x="6842" y="808"/>
                </a:lnTo>
                <a:lnTo>
                  <a:pt x="6878" y="857"/>
                </a:lnTo>
                <a:close/>
                <a:moveTo>
                  <a:pt x="6854" y="783"/>
                </a:moveTo>
                <a:lnTo>
                  <a:pt x="6939" y="783"/>
                </a:lnTo>
                <a:lnTo>
                  <a:pt x="6903" y="832"/>
                </a:lnTo>
                <a:lnTo>
                  <a:pt x="6854" y="783"/>
                </a:lnTo>
                <a:close/>
                <a:moveTo>
                  <a:pt x="6854" y="918"/>
                </a:moveTo>
                <a:lnTo>
                  <a:pt x="6903" y="869"/>
                </a:lnTo>
                <a:lnTo>
                  <a:pt x="6939" y="918"/>
                </a:lnTo>
                <a:lnTo>
                  <a:pt x="6854" y="918"/>
                </a:lnTo>
                <a:close/>
                <a:moveTo>
                  <a:pt x="7001" y="918"/>
                </a:moveTo>
                <a:lnTo>
                  <a:pt x="6976" y="918"/>
                </a:lnTo>
                <a:lnTo>
                  <a:pt x="6915" y="857"/>
                </a:lnTo>
                <a:lnTo>
                  <a:pt x="6976" y="783"/>
                </a:lnTo>
                <a:lnTo>
                  <a:pt x="7001" y="783"/>
                </a:lnTo>
                <a:lnTo>
                  <a:pt x="7001" y="918"/>
                </a:lnTo>
                <a:close/>
                <a:moveTo>
                  <a:pt x="7037" y="306"/>
                </a:moveTo>
                <a:lnTo>
                  <a:pt x="7037" y="343"/>
                </a:lnTo>
                <a:lnTo>
                  <a:pt x="7037" y="673"/>
                </a:lnTo>
                <a:lnTo>
                  <a:pt x="7001" y="673"/>
                </a:lnTo>
                <a:lnTo>
                  <a:pt x="7001" y="759"/>
                </a:lnTo>
                <a:lnTo>
                  <a:pt x="6842" y="759"/>
                </a:lnTo>
                <a:lnTo>
                  <a:pt x="6805" y="759"/>
                </a:lnTo>
                <a:lnTo>
                  <a:pt x="6695" y="759"/>
                </a:lnTo>
                <a:lnTo>
                  <a:pt x="6658" y="759"/>
                </a:lnTo>
                <a:lnTo>
                  <a:pt x="6548" y="759"/>
                </a:lnTo>
                <a:lnTo>
                  <a:pt x="6523" y="759"/>
                </a:lnTo>
                <a:lnTo>
                  <a:pt x="6425" y="759"/>
                </a:lnTo>
                <a:lnTo>
                  <a:pt x="6401" y="759"/>
                </a:lnTo>
                <a:lnTo>
                  <a:pt x="6376" y="759"/>
                </a:lnTo>
                <a:lnTo>
                  <a:pt x="6376" y="759"/>
                </a:lnTo>
                <a:lnTo>
                  <a:pt x="6254" y="759"/>
                </a:lnTo>
                <a:lnTo>
                  <a:pt x="6217" y="759"/>
                </a:lnTo>
                <a:lnTo>
                  <a:pt x="6107" y="759"/>
                </a:lnTo>
                <a:lnTo>
                  <a:pt x="6083" y="759"/>
                </a:lnTo>
                <a:lnTo>
                  <a:pt x="5960" y="759"/>
                </a:lnTo>
                <a:lnTo>
                  <a:pt x="5936" y="759"/>
                </a:lnTo>
                <a:lnTo>
                  <a:pt x="5875" y="759"/>
                </a:lnTo>
                <a:lnTo>
                  <a:pt x="7037" y="257"/>
                </a:lnTo>
                <a:lnTo>
                  <a:pt x="7037" y="306"/>
                </a:lnTo>
                <a:close/>
                <a:moveTo>
                  <a:pt x="5165" y="1750"/>
                </a:moveTo>
                <a:lnTo>
                  <a:pt x="5238" y="1750"/>
                </a:lnTo>
                <a:lnTo>
                  <a:pt x="5238" y="1885"/>
                </a:lnTo>
                <a:lnTo>
                  <a:pt x="5165" y="1885"/>
                </a:lnTo>
                <a:lnTo>
                  <a:pt x="5165" y="1750"/>
                </a:lnTo>
                <a:close/>
                <a:moveTo>
                  <a:pt x="5165" y="1909"/>
                </a:moveTo>
                <a:lnTo>
                  <a:pt x="5238" y="1909"/>
                </a:lnTo>
                <a:lnTo>
                  <a:pt x="5238" y="2044"/>
                </a:lnTo>
                <a:lnTo>
                  <a:pt x="5165" y="2044"/>
                </a:lnTo>
                <a:lnTo>
                  <a:pt x="5165" y="1909"/>
                </a:lnTo>
                <a:close/>
                <a:moveTo>
                  <a:pt x="5165" y="2081"/>
                </a:moveTo>
                <a:lnTo>
                  <a:pt x="5238" y="2081"/>
                </a:lnTo>
                <a:lnTo>
                  <a:pt x="5238" y="2203"/>
                </a:lnTo>
                <a:lnTo>
                  <a:pt x="5165" y="2203"/>
                </a:lnTo>
                <a:lnTo>
                  <a:pt x="5165" y="2081"/>
                </a:lnTo>
                <a:close/>
                <a:moveTo>
                  <a:pt x="5165" y="2240"/>
                </a:moveTo>
                <a:lnTo>
                  <a:pt x="5238" y="2240"/>
                </a:lnTo>
                <a:lnTo>
                  <a:pt x="5238" y="2350"/>
                </a:lnTo>
                <a:lnTo>
                  <a:pt x="5165" y="2350"/>
                </a:lnTo>
                <a:lnTo>
                  <a:pt x="5165" y="2240"/>
                </a:lnTo>
                <a:close/>
                <a:moveTo>
                  <a:pt x="5165" y="2374"/>
                </a:moveTo>
                <a:lnTo>
                  <a:pt x="5238" y="2374"/>
                </a:lnTo>
                <a:lnTo>
                  <a:pt x="5238" y="2509"/>
                </a:lnTo>
                <a:lnTo>
                  <a:pt x="5165" y="2509"/>
                </a:lnTo>
                <a:lnTo>
                  <a:pt x="5165" y="2374"/>
                </a:lnTo>
                <a:close/>
                <a:moveTo>
                  <a:pt x="5165" y="2546"/>
                </a:moveTo>
                <a:lnTo>
                  <a:pt x="5238" y="2546"/>
                </a:lnTo>
                <a:lnTo>
                  <a:pt x="5238" y="2680"/>
                </a:lnTo>
                <a:lnTo>
                  <a:pt x="5165" y="2680"/>
                </a:lnTo>
                <a:lnTo>
                  <a:pt x="5165" y="2546"/>
                </a:lnTo>
                <a:close/>
                <a:moveTo>
                  <a:pt x="5165" y="2705"/>
                </a:moveTo>
                <a:lnTo>
                  <a:pt x="5238" y="2705"/>
                </a:lnTo>
                <a:lnTo>
                  <a:pt x="5238" y="2839"/>
                </a:lnTo>
                <a:lnTo>
                  <a:pt x="5165" y="2839"/>
                </a:lnTo>
                <a:lnTo>
                  <a:pt x="5165" y="2705"/>
                </a:lnTo>
                <a:close/>
                <a:moveTo>
                  <a:pt x="3390" y="2509"/>
                </a:moveTo>
                <a:lnTo>
                  <a:pt x="3561" y="2509"/>
                </a:lnTo>
                <a:lnTo>
                  <a:pt x="3561" y="2656"/>
                </a:lnTo>
                <a:lnTo>
                  <a:pt x="3390" y="2656"/>
                </a:lnTo>
                <a:lnTo>
                  <a:pt x="3390" y="2509"/>
                </a:lnTo>
                <a:close/>
                <a:moveTo>
                  <a:pt x="3390" y="2680"/>
                </a:moveTo>
                <a:lnTo>
                  <a:pt x="3561" y="2680"/>
                </a:lnTo>
                <a:lnTo>
                  <a:pt x="3561" y="2815"/>
                </a:lnTo>
                <a:lnTo>
                  <a:pt x="3390" y="2815"/>
                </a:lnTo>
                <a:lnTo>
                  <a:pt x="3390" y="2680"/>
                </a:lnTo>
                <a:close/>
                <a:moveTo>
                  <a:pt x="3390" y="2852"/>
                </a:moveTo>
                <a:lnTo>
                  <a:pt x="3561" y="2852"/>
                </a:lnTo>
                <a:lnTo>
                  <a:pt x="3561" y="2974"/>
                </a:lnTo>
                <a:lnTo>
                  <a:pt x="3390" y="2974"/>
                </a:lnTo>
                <a:lnTo>
                  <a:pt x="3390" y="2852"/>
                </a:lnTo>
                <a:close/>
                <a:moveTo>
                  <a:pt x="3390" y="2998"/>
                </a:moveTo>
                <a:lnTo>
                  <a:pt x="3561" y="2998"/>
                </a:lnTo>
                <a:lnTo>
                  <a:pt x="3561" y="3121"/>
                </a:lnTo>
                <a:lnTo>
                  <a:pt x="3390" y="3121"/>
                </a:lnTo>
                <a:lnTo>
                  <a:pt x="3390" y="2998"/>
                </a:lnTo>
                <a:close/>
                <a:moveTo>
                  <a:pt x="3390" y="3158"/>
                </a:moveTo>
                <a:lnTo>
                  <a:pt x="3561" y="3158"/>
                </a:lnTo>
                <a:lnTo>
                  <a:pt x="3561" y="3280"/>
                </a:lnTo>
                <a:lnTo>
                  <a:pt x="3390" y="3280"/>
                </a:lnTo>
                <a:lnTo>
                  <a:pt x="3390" y="3158"/>
                </a:lnTo>
                <a:close/>
                <a:moveTo>
                  <a:pt x="3390" y="3304"/>
                </a:moveTo>
                <a:lnTo>
                  <a:pt x="3561" y="3304"/>
                </a:lnTo>
                <a:lnTo>
                  <a:pt x="3561" y="3402"/>
                </a:lnTo>
                <a:lnTo>
                  <a:pt x="3390" y="3402"/>
                </a:lnTo>
                <a:lnTo>
                  <a:pt x="3390" y="3304"/>
                </a:lnTo>
                <a:close/>
                <a:moveTo>
                  <a:pt x="3158" y="2509"/>
                </a:moveTo>
                <a:lnTo>
                  <a:pt x="3329" y="2509"/>
                </a:lnTo>
                <a:lnTo>
                  <a:pt x="3329" y="2656"/>
                </a:lnTo>
                <a:lnTo>
                  <a:pt x="3158" y="2656"/>
                </a:lnTo>
                <a:lnTo>
                  <a:pt x="3158" y="2509"/>
                </a:lnTo>
                <a:close/>
                <a:moveTo>
                  <a:pt x="3158" y="2680"/>
                </a:moveTo>
                <a:lnTo>
                  <a:pt x="3329" y="2680"/>
                </a:lnTo>
                <a:lnTo>
                  <a:pt x="3329" y="2815"/>
                </a:lnTo>
                <a:lnTo>
                  <a:pt x="3158" y="2815"/>
                </a:lnTo>
                <a:lnTo>
                  <a:pt x="3158" y="2680"/>
                </a:lnTo>
                <a:close/>
                <a:moveTo>
                  <a:pt x="3158" y="2852"/>
                </a:moveTo>
                <a:lnTo>
                  <a:pt x="3329" y="2852"/>
                </a:lnTo>
                <a:lnTo>
                  <a:pt x="3329" y="2974"/>
                </a:lnTo>
                <a:lnTo>
                  <a:pt x="3158" y="2974"/>
                </a:lnTo>
                <a:lnTo>
                  <a:pt x="3158" y="2852"/>
                </a:lnTo>
                <a:close/>
                <a:moveTo>
                  <a:pt x="3158" y="2998"/>
                </a:moveTo>
                <a:lnTo>
                  <a:pt x="3329" y="2998"/>
                </a:lnTo>
                <a:lnTo>
                  <a:pt x="3329" y="3121"/>
                </a:lnTo>
                <a:lnTo>
                  <a:pt x="3158" y="3121"/>
                </a:lnTo>
                <a:lnTo>
                  <a:pt x="3158" y="2998"/>
                </a:lnTo>
                <a:close/>
                <a:moveTo>
                  <a:pt x="3158" y="3158"/>
                </a:moveTo>
                <a:lnTo>
                  <a:pt x="3329" y="3158"/>
                </a:lnTo>
                <a:lnTo>
                  <a:pt x="3329" y="3280"/>
                </a:lnTo>
                <a:lnTo>
                  <a:pt x="3158" y="3280"/>
                </a:lnTo>
                <a:lnTo>
                  <a:pt x="3158" y="3158"/>
                </a:lnTo>
                <a:close/>
                <a:moveTo>
                  <a:pt x="3158" y="3304"/>
                </a:moveTo>
                <a:lnTo>
                  <a:pt x="3329" y="3304"/>
                </a:lnTo>
                <a:lnTo>
                  <a:pt x="3329" y="3402"/>
                </a:lnTo>
                <a:lnTo>
                  <a:pt x="3158" y="3402"/>
                </a:lnTo>
                <a:lnTo>
                  <a:pt x="3158" y="3304"/>
                </a:lnTo>
                <a:close/>
                <a:moveTo>
                  <a:pt x="2937" y="2509"/>
                </a:moveTo>
                <a:lnTo>
                  <a:pt x="3109" y="2509"/>
                </a:lnTo>
                <a:lnTo>
                  <a:pt x="3109" y="2656"/>
                </a:lnTo>
                <a:lnTo>
                  <a:pt x="2937" y="2656"/>
                </a:lnTo>
                <a:lnTo>
                  <a:pt x="2937" y="2509"/>
                </a:lnTo>
                <a:close/>
                <a:moveTo>
                  <a:pt x="2937" y="2680"/>
                </a:moveTo>
                <a:lnTo>
                  <a:pt x="3109" y="2680"/>
                </a:lnTo>
                <a:lnTo>
                  <a:pt x="3109" y="2815"/>
                </a:lnTo>
                <a:lnTo>
                  <a:pt x="2937" y="2815"/>
                </a:lnTo>
                <a:lnTo>
                  <a:pt x="2937" y="2680"/>
                </a:lnTo>
                <a:close/>
                <a:moveTo>
                  <a:pt x="2937" y="2852"/>
                </a:moveTo>
                <a:lnTo>
                  <a:pt x="3109" y="2852"/>
                </a:lnTo>
                <a:lnTo>
                  <a:pt x="3109" y="2974"/>
                </a:lnTo>
                <a:lnTo>
                  <a:pt x="2937" y="2974"/>
                </a:lnTo>
                <a:lnTo>
                  <a:pt x="2937" y="2852"/>
                </a:lnTo>
                <a:close/>
                <a:moveTo>
                  <a:pt x="2937" y="2998"/>
                </a:moveTo>
                <a:lnTo>
                  <a:pt x="3109" y="2998"/>
                </a:lnTo>
                <a:lnTo>
                  <a:pt x="3109" y="3121"/>
                </a:lnTo>
                <a:lnTo>
                  <a:pt x="2937" y="3121"/>
                </a:lnTo>
                <a:lnTo>
                  <a:pt x="2937" y="2998"/>
                </a:lnTo>
                <a:close/>
                <a:moveTo>
                  <a:pt x="2937" y="3158"/>
                </a:moveTo>
                <a:lnTo>
                  <a:pt x="3109" y="3158"/>
                </a:lnTo>
                <a:lnTo>
                  <a:pt x="3109" y="3280"/>
                </a:lnTo>
                <a:lnTo>
                  <a:pt x="2937" y="3280"/>
                </a:lnTo>
                <a:lnTo>
                  <a:pt x="2937" y="3158"/>
                </a:lnTo>
                <a:close/>
                <a:moveTo>
                  <a:pt x="2937" y="3304"/>
                </a:moveTo>
                <a:lnTo>
                  <a:pt x="3109" y="3304"/>
                </a:lnTo>
                <a:lnTo>
                  <a:pt x="3109" y="3402"/>
                </a:lnTo>
                <a:lnTo>
                  <a:pt x="2937" y="3402"/>
                </a:lnTo>
                <a:lnTo>
                  <a:pt x="2937" y="3304"/>
                </a:lnTo>
                <a:close/>
                <a:moveTo>
                  <a:pt x="2717" y="2852"/>
                </a:moveTo>
                <a:lnTo>
                  <a:pt x="2876" y="2852"/>
                </a:lnTo>
                <a:lnTo>
                  <a:pt x="2876" y="2974"/>
                </a:lnTo>
                <a:lnTo>
                  <a:pt x="2717" y="2974"/>
                </a:lnTo>
                <a:lnTo>
                  <a:pt x="2717" y="2852"/>
                </a:lnTo>
                <a:close/>
                <a:moveTo>
                  <a:pt x="2717" y="2998"/>
                </a:moveTo>
                <a:lnTo>
                  <a:pt x="2876" y="2998"/>
                </a:lnTo>
                <a:lnTo>
                  <a:pt x="2876" y="3121"/>
                </a:lnTo>
                <a:lnTo>
                  <a:pt x="2717" y="3121"/>
                </a:lnTo>
                <a:lnTo>
                  <a:pt x="2717" y="2998"/>
                </a:lnTo>
                <a:close/>
                <a:moveTo>
                  <a:pt x="2717" y="3158"/>
                </a:moveTo>
                <a:lnTo>
                  <a:pt x="2876" y="3158"/>
                </a:lnTo>
                <a:lnTo>
                  <a:pt x="2876" y="3280"/>
                </a:lnTo>
                <a:lnTo>
                  <a:pt x="2717" y="3280"/>
                </a:lnTo>
                <a:lnTo>
                  <a:pt x="2717" y="3158"/>
                </a:lnTo>
                <a:close/>
                <a:moveTo>
                  <a:pt x="2717" y="3304"/>
                </a:moveTo>
                <a:lnTo>
                  <a:pt x="2876" y="3304"/>
                </a:lnTo>
                <a:lnTo>
                  <a:pt x="2876" y="3402"/>
                </a:lnTo>
                <a:lnTo>
                  <a:pt x="2717" y="3402"/>
                </a:lnTo>
                <a:lnTo>
                  <a:pt x="2717" y="3304"/>
                </a:lnTo>
                <a:close/>
                <a:moveTo>
                  <a:pt x="2484" y="2852"/>
                </a:moveTo>
                <a:lnTo>
                  <a:pt x="2656" y="2852"/>
                </a:lnTo>
                <a:lnTo>
                  <a:pt x="2656" y="2974"/>
                </a:lnTo>
                <a:lnTo>
                  <a:pt x="2484" y="2974"/>
                </a:lnTo>
                <a:lnTo>
                  <a:pt x="2484" y="2852"/>
                </a:lnTo>
                <a:close/>
                <a:moveTo>
                  <a:pt x="2484" y="2998"/>
                </a:moveTo>
                <a:lnTo>
                  <a:pt x="2656" y="2998"/>
                </a:lnTo>
                <a:lnTo>
                  <a:pt x="2656" y="3121"/>
                </a:lnTo>
                <a:lnTo>
                  <a:pt x="2484" y="3121"/>
                </a:lnTo>
                <a:lnTo>
                  <a:pt x="2484" y="2998"/>
                </a:lnTo>
                <a:close/>
                <a:moveTo>
                  <a:pt x="2484" y="3158"/>
                </a:moveTo>
                <a:lnTo>
                  <a:pt x="2656" y="3158"/>
                </a:lnTo>
                <a:lnTo>
                  <a:pt x="2656" y="3280"/>
                </a:lnTo>
                <a:lnTo>
                  <a:pt x="2484" y="3280"/>
                </a:lnTo>
                <a:lnTo>
                  <a:pt x="2484" y="3158"/>
                </a:lnTo>
                <a:close/>
                <a:moveTo>
                  <a:pt x="2484" y="3304"/>
                </a:moveTo>
                <a:lnTo>
                  <a:pt x="2656" y="3304"/>
                </a:lnTo>
                <a:lnTo>
                  <a:pt x="2656" y="3402"/>
                </a:lnTo>
                <a:lnTo>
                  <a:pt x="2484" y="3402"/>
                </a:lnTo>
                <a:lnTo>
                  <a:pt x="2484" y="3304"/>
                </a:lnTo>
                <a:close/>
                <a:moveTo>
                  <a:pt x="2264" y="2852"/>
                </a:moveTo>
                <a:lnTo>
                  <a:pt x="2423" y="2852"/>
                </a:lnTo>
                <a:lnTo>
                  <a:pt x="2423" y="2974"/>
                </a:lnTo>
                <a:lnTo>
                  <a:pt x="2264" y="2974"/>
                </a:lnTo>
                <a:lnTo>
                  <a:pt x="2264" y="2852"/>
                </a:lnTo>
                <a:close/>
                <a:moveTo>
                  <a:pt x="2264" y="2998"/>
                </a:moveTo>
                <a:lnTo>
                  <a:pt x="2423" y="2998"/>
                </a:lnTo>
                <a:lnTo>
                  <a:pt x="2423" y="3121"/>
                </a:lnTo>
                <a:lnTo>
                  <a:pt x="2264" y="3121"/>
                </a:lnTo>
                <a:lnTo>
                  <a:pt x="2264" y="2998"/>
                </a:lnTo>
                <a:close/>
                <a:moveTo>
                  <a:pt x="2264" y="3158"/>
                </a:moveTo>
                <a:lnTo>
                  <a:pt x="2423" y="3158"/>
                </a:lnTo>
                <a:lnTo>
                  <a:pt x="2423" y="3280"/>
                </a:lnTo>
                <a:lnTo>
                  <a:pt x="2264" y="3280"/>
                </a:lnTo>
                <a:lnTo>
                  <a:pt x="2264" y="3158"/>
                </a:lnTo>
                <a:close/>
                <a:moveTo>
                  <a:pt x="2264" y="3304"/>
                </a:moveTo>
                <a:lnTo>
                  <a:pt x="2423" y="3304"/>
                </a:lnTo>
                <a:lnTo>
                  <a:pt x="2423" y="3402"/>
                </a:lnTo>
                <a:lnTo>
                  <a:pt x="2264" y="3402"/>
                </a:lnTo>
                <a:lnTo>
                  <a:pt x="2264" y="3304"/>
                </a:lnTo>
                <a:close/>
                <a:moveTo>
                  <a:pt x="1114" y="808"/>
                </a:moveTo>
                <a:lnTo>
                  <a:pt x="1114" y="673"/>
                </a:lnTo>
                <a:lnTo>
                  <a:pt x="1150" y="673"/>
                </a:lnTo>
                <a:lnTo>
                  <a:pt x="1212" y="734"/>
                </a:lnTo>
                <a:lnTo>
                  <a:pt x="1138" y="808"/>
                </a:lnTo>
                <a:lnTo>
                  <a:pt x="1114" y="808"/>
                </a:lnTo>
                <a:close/>
                <a:moveTo>
                  <a:pt x="1175" y="673"/>
                </a:moveTo>
                <a:lnTo>
                  <a:pt x="1285" y="673"/>
                </a:lnTo>
                <a:lnTo>
                  <a:pt x="1224" y="722"/>
                </a:lnTo>
                <a:lnTo>
                  <a:pt x="1175" y="673"/>
                </a:lnTo>
                <a:close/>
                <a:moveTo>
                  <a:pt x="1175" y="808"/>
                </a:moveTo>
                <a:lnTo>
                  <a:pt x="1224" y="747"/>
                </a:lnTo>
                <a:lnTo>
                  <a:pt x="1285" y="808"/>
                </a:lnTo>
                <a:lnTo>
                  <a:pt x="1175" y="808"/>
                </a:lnTo>
                <a:close/>
                <a:moveTo>
                  <a:pt x="1297" y="783"/>
                </a:moveTo>
                <a:lnTo>
                  <a:pt x="1248" y="734"/>
                </a:lnTo>
                <a:lnTo>
                  <a:pt x="1297" y="685"/>
                </a:lnTo>
                <a:lnTo>
                  <a:pt x="1297" y="783"/>
                </a:lnTo>
                <a:close/>
                <a:moveTo>
                  <a:pt x="1383" y="734"/>
                </a:moveTo>
                <a:lnTo>
                  <a:pt x="1334" y="783"/>
                </a:lnTo>
                <a:lnTo>
                  <a:pt x="1334" y="685"/>
                </a:lnTo>
                <a:lnTo>
                  <a:pt x="1383" y="734"/>
                </a:lnTo>
                <a:close/>
                <a:moveTo>
                  <a:pt x="1346" y="673"/>
                </a:moveTo>
                <a:lnTo>
                  <a:pt x="1444" y="673"/>
                </a:lnTo>
                <a:lnTo>
                  <a:pt x="1395" y="722"/>
                </a:lnTo>
                <a:lnTo>
                  <a:pt x="1346" y="673"/>
                </a:lnTo>
                <a:close/>
                <a:moveTo>
                  <a:pt x="1346" y="808"/>
                </a:moveTo>
                <a:lnTo>
                  <a:pt x="1395" y="747"/>
                </a:lnTo>
                <a:lnTo>
                  <a:pt x="1444" y="808"/>
                </a:lnTo>
                <a:lnTo>
                  <a:pt x="1346" y="808"/>
                </a:lnTo>
                <a:close/>
                <a:moveTo>
                  <a:pt x="1456" y="783"/>
                </a:moveTo>
                <a:lnTo>
                  <a:pt x="1407" y="734"/>
                </a:lnTo>
                <a:lnTo>
                  <a:pt x="1456" y="685"/>
                </a:lnTo>
                <a:lnTo>
                  <a:pt x="1456" y="783"/>
                </a:lnTo>
                <a:close/>
                <a:moveTo>
                  <a:pt x="1542" y="734"/>
                </a:moveTo>
                <a:lnTo>
                  <a:pt x="1493" y="783"/>
                </a:lnTo>
                <a:lnTo>
                  <a:pt x="1493" y="685"/>
                </a:lnTo>
                <a:lnTo>
                  <a:pt x="1542" y="734"/>
                </a:lnTo>
                <a:close/>
                <a:moveTo>
                  <a:pt x="1505" y="673"/>
                </a:moveTo>
                <a:lnTo>
                  <a:pt x="1615" y="673"/>
                </a:lnTo>
                <a:lnTo>
                  <a:pt x="1554" y="722"/>
                </a:lnTo>
                <a:lnTo>
                  <a:pt x="1505" y="673"/>
                </a:lnTo>
                <a:close/>
                <a:moveTo>
                  <a:pt x="1505" y="808"/>
                </a:moveTo>
                <a:lnTo>
                  <a:pt x="1554" y="747"/>
                </a:lnTo>
                <a:lnTo>
                  <a:pt x="1615" y="808"/>
                </a:lnTo>
                <a:lnTo>
                  <a:pt x="1505" y="808"/>
                </a:lnTo>
                <a:close/>
                <a:moveTo>
                  <a:pt x="1628" y="783"/>
                </a:moveTo>
                <a:lnTo>
                  <a:pt x="1579" y="734"/>
                </a:lnTo>
                <a:lnTo>
                  <a:pt x="1628" y="685"/>
                </a:lnTo>
                <a:lnTo>
                  <a:pt x="1628" y="783"/>
                </a:lnTo>
                <a:close/>
                <a:moveTo>
                  <a:pt x="1713" y="734"/>
                </a:moveTo>
                <a:lnTo>
                  <a:pt x="1664" y="783"/>
                </a:lnTo>
                <a:lnTo>
                  <a:pt x="1664" y="685"/>
                </a:lnTo>
                <a:lnTo>
                  <a:pt x="1713" y="734"/>
                </a:lnTo>
                <a:close/>
                <a:moveTo>
                  <a:pt x="1677" y="673"/>
                </a:moveTo>
                <a:lnTo>
                  <a:pt x="1775" y="673"/>
                </a:lnTo>
                <a:lnTo>
                  <a:pt x="1775" y="673"/>
                </a:lnTo>
                <a:lnTo>
                  <a:pt x="1726" y="722"/>
                </a:lnTo>
                <a:lnTo>
                  <a:pt x="1677" y="673"/>
                </a:lnTo>
                <a:close/>
                <a:moveTo>
                  <a:pt x="1775" y="808"/>
                </a:moveTo>
                <a:lnTo>
                  <a:pt x="1677" y="808"/>
                </a:lnTo>
                <a:lnTo>
                  <a:pt x="1726" y="747"/>
                </a:lnTo>
                <a:lnTo>
                  <a:pt x="1775" y="808"/>
                </a:lnTo>
                <a:lnTo>
                  <a:pt x="1775" y="808"/>
                </a:lnTo>
                <a:close/>
                <a:moveTo>
                  <a:pt x="1787" y="783"/>
                </a:moveTo>
                <a:lnTo>
                  <a:pt x="1738" y="734"/>
                </a:lnTo>
                <a:lnTo>
                  <a:pt x="1787" y="685"/>
                </a:lnTo>
                <a:lnTo>
                  <a:pt x="1787" y="783"/>
                </a:lnTo>
                <a:close/>
                <a:moveTo>
                  <a:pt x="1885" y="734"/>
                </a:moveTo>
                <a:lnTo>
                  <a:pt x="1823" y="783"/>
                </a:lnTo>
                <a:lnTo>
                  <a:pt x="1823" y="685"/>
                </a:lnTo>
                <a:lnTo>
                  <a:pt x="1885" y="734"/>
                </a:lnTo>
                <a:close/>
                <a:moveTo>
                  <a:pt x="1848" y="673"/>
                </a:moveTo>
                <a:lnTo>
                  <a:pt x="1946" y="673"/>
                </a:lnTo>
                <a:lnTo>
                  <a:pt x="1897" y="722"/>
                </a:lnTo>
                <a:lnTo>
                  <a:pt x="1848" y="673"/>
                </a:lnTo>
                <a:close/>
                <a:moveTo>
                  <a:pt x="1848" y="808"/>
                </a:moveTo>
                <a:lnTo>
                  <a:pt x="1897" y="747"/>
                </a:lnTo>
                <a:lnTo>
                  <a:pt x="1946" y="808"/>
                </a:lnTo>
                <a:lnTo>
                  <a:pt x="1848" y="808"/>
                </a:lnTo>
                <a:close/>
                <a:moveTo>
                  <a:pt x="1970" y="783"/>
                </a:moveTo>
                <a:lnTo>
                  <a:pt x="1909" y="734"/>
                </a:lnTo>
                <a:lnTo>
                  <a:pt x="1970" y="685"/>
                </a:lnTo>
                <a:lnTo>
                  <a:pt x="1970" y="783"/>
                </a:lnTo>
                <a:close/>
                <a:moveTo>
                  <a:pt x="2044" y="734"/>
                </a:moveTo>
                <a:lnTo>
                  <a:pt x="1995" y="783"/>
                </a:lnTo>
                <a:lnTo>
                  <a:pt x="1995" y="685"/>
                </a:lnTo>
                <a:lnTo>
                  <a:pt x="2044" y="734"/>
                </a:lnTo>
                <a:close/>
                <a:moveTo>
                  <a:pt x="2007" y="673"/>
                </a:moveTo>
                <a:lnTo>
                  <a:pt x="2117" y="673"/>
                </a:lnTo>
                <a:lnTo>
                  <a:pt x="2068" y="722"/>
                </a:lnTo>
                <a:lnTo>
                  <a:pt x="2007" y="673"/>
                </a:lnTo>
                <a:close/>
                <a:moveTo>
                  <a:pt x="2007" y="808"/>
                </a:moveTo>
                <a:lnTo>
                  <a:pt x="2068" y="747"/>
                </a:lnTo>
                <a:lnTo>
                  <a:pt x="2117" y="808"/>
                </a:lnTo>
                <a:lnTo>
                  <a:pt x="2007" y="808"/>
                </a:lnTo>
                <a:close/>
                <a:moveTo>
                  <a:pt x="2129" y="783"/>
                </a:moveTo>
                <a:lnTo>
                  <a:pt x="2080" y="734"/>
                </a:lnTo>
                <a:lnTo>
                  <a:pt x="2129" y="685"/>
                </a:lnTo>
                <a:lnTo>
                  <a:pt x="2129" y="783"/>
                </a:lnTo>
                <a:close/>
                <a:moveTo>
                  <a:pt x="2215" y="734"/>
                </a:moveTo>
                <a:lnTo>
                  <a:pt x="2166" y="783"/>
                </a:lnTo>
                <a:lnTo>
                  <a:pt x="2166" y="685"/>
                </a:lnTo>
                <a:lnTo>
                  <a:pt x="2215" y="734"/>
                </a:lnTo>
                <a:close/>
                <a:moveTo>
                  <a:pt x="2178" y="673"/>
                </a:moveTo>
                <a:lnTo>
                  <a:pt x="2276" y="673"/>
                </a:lnTo>
                <a:lnTo>
                  <a:pt x="2227" y="722"/>
                </a:lnTo>
                <a:lnTo>
                  <a:pt x="2178" y="673"/>
                </a:lnTo>
                <a:close/>
                <a:moveTo>
                  <a:pt x="2178" y="808"/>
                </a:moveTo>
                <a:lnTo>
                  <a:pt x="2227" y="747"/>
                </a:lnTo>
                <a:lnTo>
                  <a:pt x="2289" y="808"/>
                </a:lnTo>
                <a:lnTo>
                  <a:pt x="2178" y="808"/>
                </a:lnTo>
                <a:close/>
                <a:moveTo>
                  <a:pt x="2301" y="783"/>
                </a:moveTo>
                <a:lnTo>
                  <a:pt x="2240" y="734"/>
                </a:lnTo>
                <a:lnTo>
                  <a:pt x="2301" y="685"/>
                </a:lnTo>
                <a:lnTo>
                  <a:pt x="2301" y="783"/>
                </a:lnTo>
                <a:close/>
                <a:moveTo>
                  <a:pt x="2338" y="808"/>
                </a:moveTo>
                <a:lnTo>
                  <a:pt x="2399" y="747"/>
                </a:lnTo>
                <a:lnTo>
                  <a:pt x="2448" y="808"/>
                </a:lnTo>
                <a:lnTo>
                  <a:pt x="2338" y="808"/>
                </a:lnTo>
                <a:close/>
                <a:moveTo>
                  <a:pt x="2325" y="783"/>
                </a:moveTo>
                <a:lnTo>
                  <a:pt x="2325" y="685"/>
                </a:lnTo>
                <a:lnTo>
                  <a:pt x="2374" y="734"/>
                </a:lnTo>
                <a:lnTo>
                  <a:pt x="2325" y="783"/>
                </a:lnTo>
                <a:close/>
                <a:moveTo>
                  <a:pt x="2656" y="734"/>
                </a:moveTo>
                <a:lnTo>
                  <a:pt x="2827" y="808"/>
                </a:lnTo>
                <a:lnTo>
                  <a:pt x="2656" y="808"/>
                </a:lnTo>
                <a:lnTo>
                  <a:pt x="2656" y="734"/>
                </a:lnTo>
                <a:close/>
                <a:moveTo>
                  <a:pt x="2619" y="722"/>
                </a:moveTo>
                <a:lnTo>
                  <a:pt x="2619" y="808"/>
                </a:lnTo>
                <a:lnTo>
                  <a:pt x="2509" y="808"/>
                </a:lnTo>
                <a:lnTo>
                  <a:pt x="2607" y="722"/>
                </a:lnTo>
                <a:lnTo>
                  <a:pt x="2619" y="722"/>
                </a:lnTo>
                <a:close/>
                <a:moveTo>
                  <a:pt x="2497" y="673"/>
                </a:moveTo>
                <a:lnTo>
                  <a:pt x="2582" y="710"/>
                </a:lnTo>
                <a:lnTo>
                  <a:pt x="2497" y="795"/>
                </a:lnTo>
                <a:lnTo>
                  <a:pt x="2497" y="673"/>
                </a:lnTo>
                <a:close/>
                <a:moveTo>
                  <a:pt x="2460" y="783"/>
                </a:moveTo>
                <a:lnTo>
                  <a:pt x="2411" y="734"/>
                </a:lnTo>
                <a:lnTo>
                  <a:pt x="2460" y="685"/>
                </a:lnTo>
                <a:lnTo>
                  <a:pt x="2460" y="783"/>
                </a:lnTo>
                <a:close/>
                <a:moveTo>
                  <a:pt x="2399" y="722"/>
                </a:moveTo>
                <a:lnTo>
                  <a:pt x="2338" y="673"/>
                </a:lnTo>
                <a:lnTo>
                  <a:pt x="2448" y="673"/>
                </a:lnTo>
                <a:lnTo>
                  <a:pt x="2399" y="722"/>
                </a:lnTo>
                <a:close/>
                <a:moveTo>
                  <a:pt x="1077" y="196"/>
                </a:moveTo>
                <a:lnTo>
                  <a:pt x="1077" y="159"/>
                </a:lnTo>
                <a:lnTo>
                  <a:pt x="1077" y="110"/>
                </a:lnTo>
                <a:lnTo>
                  <a:pt x="2386" y="636"/>
                </a:lnTo>
                <a:lnTo>
                  <a:pt x="2325" y="636"/>
                </a:lnTo>
                <a:lnTo>
                  <a:pt x="2301" y="636"/>
                </a:lnTo>
                <a:lnTo>
                  <a:pt x="2166" y="636"/>
                </a:lnTo>
                <a:lnTo>
                  <a:pt x="2129" y="636"/>
                </a:lnTo>
                <a:lnTo>
                  <a:pt x="1995" y="636"/>
                </a:lnTo>
                <a:lnTo>
                  <a:pt x="1970" y="636"/>
                </a:lnTo>
                <a:lnTo>
                  <a:pt x="1823" y="636"/>
                </a:lnTo>
                <a:lnTo>
                  <a:pt x="1823" y="636"/>
                </a:lnTo>
                <a:lnTo>
                  <a:pt x="1787" y="636"/>
                </a:lnTo>
                <a:lnTo>
                  <a:pt x="1775" y="636"/>
                </a:lnTo>
                <a:lnTo>
                  <a:pt x="1664" y="636"/>
                </a:lnTo>
                <a:lnTo>
                  <a:pt x="1628" y="636"/>
                </a:lnTo>
                <a:lnTo>
                  <a:pt x="1493" y="636"/>
                </a:lnTo>
                <a:lnTo>
                  <a:pt x="1456" y="636"/>
                </a:lnTo>
                <a:lnTo>
                  <a:pt x="1334" y="636"/>
                </a:lnTo>
                <a:lnTo>
                  <a:pt x="1297" y="636"/>
                </a:lnTo>
                <a:lnTo>
                  <a:pt x="1114" y="636"/>
                </a:lnTo>
                <a:lnTo>
                  <a:pt x="1114" y="551"/>
                </a:lnTo>
                <a:lnTo>
                  <a:pt x="1077" y="551"/>
                </a:lnTo>
                <a:lnTo>
                  <a:pt x="1077" y="196"/>
                </a:lnTo>
                <a:close/>
                <a:moveTo>
                  <a:pt x="9277" y="3451"/>
                </a:moveTo>
                <a:lnTo>
                  <a:pt x="9314" y="3451"/>
                </a:lnTo>
                <a:lnTo>
                  <a:pt x="9314" y="3464"/>
                </a:lnTo>
                <a:lnTo>
                  <a:pt x="9277" y="3451"/>
                </a:lnTo>
                <a:close/>
                <a:moveTo>
                  <a:pt x="9412" y="3733"/>
                </a:moveTo>
                <a:lnTo>
                  <a:pt x="9412" y="3818"/>
                </a:lnTo>
                <a:lnTo>
                  <a:pt x="9351" y="3818"/>
                </a:lnTo>
                <a:lnTo>
                  <a:pt x="9351" y="3733"/>
                </a:lnTo>
                <a:lnTo>
                  <a:pt x="9412" y="3733"/>
                </a:lnTo>
                <a:close/>
                <a:moveTo>
                  <a:pt x="9351" y="3696"/>
                </a:moveTo>
                <a:lnTo>
                  <a:pt x="9351" y="3586"/>
                </a:lnTo>
                <a:lnTo>
                  <a:pt x="9412" y="3586"/>
                </a:lnTo>
                <a:lnTo>
                  <a:pt x="9412" y="3696"/>
                </a:lnTo>
                <a:lnTo>
                  <a:pt x="9351" y="3696"/>
                </a:lnTo>
                <a:close/>
                <a:moveTo>
                  <a:pt x="9338" y="2766"/>
                </a:moveTo>
                <a:lnTo>
                  <a:pt x="9412" y="2766"/>
                </a:lnTo>
                <a:lnTo>
                  <a:pt x="9412" y="2864"/>
                </a:lnTo>
                <a:lnTo>
                  <a:pt x="9338" y="2864"/>
                </a:lnTo>
                <a:lnTo>
                  <a:pt x="9338" y="2766"/>
                </a:lnTo>
                <a:close/>
                <a:moveTo>
                  <a:pt x="9338" y="2901"/>
                </a:moveTo>
                <a:lnTo>
                  <a:pt x="9412" y="2901"/>
                </a:lnTo>
                <a:lnTo>
                  <a:pt x="9412" y="3011"/>
                </a:lnTo>
                <a:lnTo>
                  <a:pt x="9338" y="3011"/>
                </a:lnTo>
                <a:lnTo>
                  <a:pt x="9338" y="2901"/>
                </a:lnTo>
                <a:close/>
                <a:moveTo>
                  <a:pt x="9338" y="3047"/>
                </a:moveTo>
                <a:lnTo>
                  <a:pt x="9412" y="3047"/>
                </a:lnTo>
                <a:lnTo>
                  <a:pt x="9412" y="3158"/>
                </a:lnTo>
                <a:lnTo>
                  <a:pt x="9338" y="3158"/>
                </a:lnTo>
                <a:lnTo>
                  <a:pt x="9338" y="3047"/>
                </a:lnTo>
                <a:close/>
                <a:moveTo>
                  <a:pt x="9338" y="3182"/>
                </a:moveTo>
                <a:lnTo>
                  <a:pt x="9412" y="3182"/>
                </a:lnTo>
                <a:lnTo>
                  <a:pt x="9412" y="3268"/>
                </a:lnTo>
                <a:lnTo>
                  <a:pt x="9338" y="3268"/>
                </a:lnTo>
                <a:lnTo>
                  <a:pt x="9338" y="3182"/>
                </a:lnTo>
                <a:close/>
                <a:moveTo>
                  <a:pt x="9338" y="3304"/>
                </a:moveTo>
                <a:lnTo>
                  <a:pt x="9412" y="3304"/>
                </a:lnTo>
                <a:lnTo>
                  <a:pt x="9412" y="3415"/>
                </a:lnTo>
                <a:lnTo>
                  <a:pt x="9338" y="3415"/>
                </a:lnTo>
                <a:lnTo>
                  <a:pt x="9338" y="3304"/>
                </a:lnTo>
                <a:close/>
                <a:moveTo>
                  <a:pt x="9338" y="3451"/>
                </a:moveTo>
                <a:lnTo>
                  <a:pt x="9412" y="3451"/>
                </a:lnTo>
                <a:lnTo>
                  <a:pt x="9412" y="3561"/>
                </a:lnTo>
                <a:lnTo>
                  <a:pt x="9351" y="3561"/>
                </a:lnTo>
                <a:lnTo>
                  <a:pt x="9351" y="3476"/>
                </a:lnTo>
                <a:lnTo>
                  <a:pt x="9338" y="3464"/>
                </a:lnTo>
                <a:lnTo>
                  <a:pt x="9338" y="3451"/>
                </a:lnTo>
                <a:close/>
                <a:moveTo>
                  <a:pt x="9167" y="2766"/>
                </a:moveTo>
                <a:lnTo>
                  <a:pt x="9314" y="2766"/>
                </a:lnTo>
                <a:lnTo>
                  <a:pt x="9314" y="2864"/>
                </a:lnTo>
                <a:lnTo>
                  <a:pt x="9167" y="2864"/>
                </a:lnTo>
                <a:lnTo>
                  <a:pt x="9167" y="2766"/>
                </a:lnTo>
                <a:close/>
                <a:moveTo>
                  <a:pt x="9167" y="2901"/>
                </a:moveTo>
                <a:lnTo>
                  <a:pt x="9314" y="2901"/>
                </a:lnTo>
                <a:lnTo>
                  <a:pt x="9314" y="3011"/>
                </a:lnTo>
                <a:lnTo>
                  <a:pt x="9167" y="3011"/>
                </a:lnTo>
                <a:lnTo>
                  <a:pt x="9167" y="2901"/>
                </a:lnTo>
                <a:close/>
                <a:moveTo>
                  <a:pt x="9167" y="3047"/>
                </a:moveTo>
                <a:lnTo>
                  <a:pt x="9314" y="3047"/>
                </a:lnTo>
                <a:lnTo>
                  <a:pt x="9314" y="3158"/>
                </a:lnTo>
                <a:lnTo>
                  <a:pt x="9167" y="3158"/>
                </a:lnTo>
                <a:lnTo>
                  <a:pt x="9167" y="3047"/>
                </a:lnTo>
                <a:close/>
                <a:moveTo>
                  <a:pt x="9167" y="3182"/>
                </a:moveTo>
                <a:lnTo>
                  <a:pt x="9314" y="3182"/>
                </a:lnTo>
                <a:lnTo>
                  <a:pt x="9314" y="3268"/>
                </a:lnTo>
                <a:lnTo>
                  <a:pt x="9167" y="3268"/>
                </a:lnTo>
                <a:lnTo>
                  <a:pt x="9167" y="3182"/>
                </a:lnTo>
                <a:close/>
                <a:moveTo>
                  <a:pt x="9167" y="3304"/>
                </a:moveTo>
                <a:lnTo>
                  <a:pt x="9314" y="3304"/>
                </a:lnTo>
                <a:lnTo>
                  <a:pt x="9314" y="3415"/>
                </a:lnTo>
                <a:lnTo>
                  <a:pt x="9179" y="3415"/>
                </a:lnTo>
                <a:lnTo>
                  <a:pt x="9167" y="3415"/>
                </a:lnTo>
                <a:lnTo>
                  <a:pt x="9167" y="3304"/>
                </a:lnTo>
                <a:close/>
                <a:moveTo>
                  <a:pt x="9069" y="2766"/>
                </a:moveTo>
                <a:lnTo>
                  <a:pt x="9130" y="2766"/>
                </a:lnTo>
                <a:lnTo>
                  <a:pt x="9130" y="2864"/>
                </a:lnTo>
                <a:lnTo>
                  <a:pt x="9069" y="2864"/>
                </a:lnTo>
                <a:lnTo>
                  <a:pt x="9069" y="2766"/>
                </a:lnTo>
                <a:close/>
                <a:moveTo>
                  <a:pt x="9069" y="2901"/>
                </a:moveTo>
                <a:lnTo>
                  <a:pt x="9130" y="2901"/>
                </a:lnTo>
                <a:lnTo>
                  <a:pt x="9130" y="3011"/>
                </a:lnTo>
                <a:lnTo>
                  <a:pt x="9069" y="3011"/>
                </a:lnTo>
                <a:lnTo>
                  <a:pt x="9069" y="2901"/>
                </a:lnTo>
                <a:close/>
                <a:moveTo>
                  <a:pt x="9069" y="3047"/>
                </a:moveTo>
                <a:lnTo>
                  <a:pt x="9130" y="3047"/>
                </a:lnTo>
                <a:lnTo>
                  <a:pt x="9130" y="3158"/>
                </a:lnTo>
                <a:lnTo>
                  <a:pt x="9069" y="3158"/>
                </a:lnTo>
                <a:lnTo>
                  <a:pt x="9069" y="3047"/>
                </a:lnTo>
                <a:close/>
                <a:moveTo>
                  <a:pt x="9069" y="3182"/>
                </a:moveTo>
                <a:lnTo>
                  <a:pt x="9130" y="3182"/>
                </a:lnTo>
                <a:lnTo>
                  <a:pt x="9130" y="3268"/>
                </a:lnTo>
                <a:lnTo>
                  <a:pt x="9069" y="3268"/>
                </a:lnTo>
                <a:lnTo>
                  <a:pt x="9069" y="3182"/>
                </a:lnTo>
                <a:close/>
                <a:moveTo>
                  <a:pt x="9069" y="3304"/>
                </a:moveTo>
                <a:lnTo>
                  <a:pt x="9130" y="3304"/>
                </a:lnTo>
                <a:lnTo>
                  <a:pt x="9130" y="3402"/>
                </a:lnTo>
                <a:lnTo>
                  <a:pt x="9094" y="3415"/>
                </a:lnTo>
                <a:lnTo>
                  <a:pt x="9069" y="3415"/>
                </a:lnTo>
                <a:lnTo>
                  <a:pt x="9069" y="3304"/>
                </a:lnTo>
                <a:close/>
                <a:moveTo>
                  <a:pt x="8898" y="2766"/>
                </a:moveTo>
                <a:lnTo>
                  <a:pt x="9032" y="2766"/>
                </a:lnTo>
                <a:lnTo>
                  <a:pt x="9032" y="2864"/>
                </a:lnTo>
                <a:lnTo>
                  <a:pt x="8898" y="2864"/>
                </a:lnTo>
                <a:lnTo>
                  <a:pt x="8898" y="2766"/>
                </a:lnTo>
                <a:close/>
                <a:moveTo>
                  <a:pt x="8898" y="2901"/>
                </a:moveTo>
                <a:lnTo>
                  <a:pt x="9032" y="2901"/>
                </a:lnTo>
                <a:lnTo>
                  <a:pt x="9032" y="3011"/>
                </a:lnTo>
                <a:lnTo>
                  <a:pt x="8898" y="3011"/>
                </a:lnTo>
                <a:lnTo>
                  <a:pt x="8898" y="2901"/>
                </a:lnTo>
                <a:close/>
                <a:moveTo>
                  <a:pt x="8898" y="3047"/>
                </a:moveTo>
                <a:lnTo>
                  <a:pt x="9032" y="3047"/>
                </a:lnTo>
                <a:lnTo>
                  <a:pt x="9032" y="3158"/>
                </a:lnTo>
                <a:lnTo>
                  <a:pt x="8898" y="3158"/>
                </a:lnTo>
                <a:lnTo>
                  <a:pt x="8898" y="3047"/>
                </a:lnTo>
                <a:close/>
                <a:moveTo>
                  <a:pt x="8898" y="3182"/>
                </a:moveTo>
                <a:lnTo>
                  <a:pt x="9032" y="3182"/>
                </a:lnTo>
                <a:lnTo>
                  <a:pt x="9032" y="3268"/>
                </a:lnTo>
                <a:lnTo>
                  <a:pt x="8898" y="3268"/>
                </a:lnTo>
                <a:lnTo>
                  <a:pt x="8898" y="3182"/>
                </a:lnTo>
                <a:close/>
                <a:moveTo>
                  <a:pt x="8898" y="3304"/>
                </a:moveTo>
                <a:lnTo>
                  <a:pt x="9032" y="3304"/>
                </a:lnTo>
                <a:lnTo>
                  <a:pt x="9032" y="3415"/>
                </a:lnTo>
                <a:lnTo>
                  <a:pt x="8898" y="3415"/>
                </a:lnTo>
                <a:lnTo>
                  <a:pt x="8898" y="3304"/>
                </a:lnTo>
                <a:close/>
                <a:moveTo>
                  <a:pt x="8898" y="3451"/>
                </a:moveTo>
                <a:lnTo>
                  <a:pt x="8996" y="3451"/>
                </a:lnTo>
                <a:lnTo>
                  <a:pt x="8922" y="3476"/>
                </a:lnTo>
                <a:lnTo>
                  <a:pt x="8922" y="3561"/>
                </a:lnTo>
                <a:lnTo>
                  <a:pt x="8898" y="3561"/>
                </a:lnTo>
                <a:lnTo>
                  <a:pt x="8898" y="3451"/>
                </a:lnTo>
                <a:close/>
                <a:moveTo>
                  <a:pt x="8898" y="3586"/>
                </a:moveTo>
                <a:lnTo>
                  <a:pt x="8922" y="3586"/>
                </a:lnTo>
                <a:lnTo>
                  <a:pt x="8922" y="3696"/>
                </a:lnTo>
                <a:lnTo>
                  <a:pt x="8898" y="3696"/>
                </a:lnTo>
                <a:lnTo>
                  <a:pt x="8898" y="3586"/>
                </a:lnTo>
                <a:close/>
                <a:moveTo>
                  <a:pt x="8922" y="3733"/>
                </a:moveTo>
                <a:lnTo>
                  <a:pt x="8922" y="3818"/>
                </a:lnTo>
                <a:lnTo>
                  <a:pt x="8898" y="3818"/>
                </a:lnTo>
                <a:lnTo>
                  <a:pt x="8898" y="3733"/>
                </a:lnTo>
                <a:lnTo>
                  <a:pt x="8922" y="3733"/>
                </a:lnTo>
                <a:close/>
                <a:moveTo>
                  <a:pt x="8800" y="2766"/>
                </a:moveTo>
                <a:lnTo>
                  <a:pt x="8861" y="2766"/>
                </a:lnTo>
                <a:lnTo>
                  <a:pt x="8861" y="2864"/>
                </a:lnTo>
                <a:lnTo>
                  <a:pt x="8800" y="2864"/>
                </a:lnTo>
                <a:lnTo>
                  <a:pt x="8800" y="2766"/>
                </a:lnTo>
                <a:close/>
                <a:moveTo>
                  <a:pt x="8800" y="2901"/>
                </a:moveTo>
                <a:lnTo>
                  <a:pt x="8861" y="2901"/>
                </a:lnTo>
                <a:lnTo>
                  <a:pt x="8861" y="3011"/>
                </a:lnTo>
                <a:lnTo>
                  <a:pt x="8800" y="3011"/>
                </a:lnTo>
                <a:lnTo>
                  <a:pt x="8800" y="2901"/>
                </a:lnTo>
                <a:close/>
                <a:moveTo>
                  <a:pt x="8800" y="3047"/>
                </a:moveTo>
                <a:lnTo>
                  <a:pt x="8861" y="3047"/>
                </a:lnTo>
                <a:lnTo>
                  <a:pt x="8861" y="3158"/>
                </a:lnTo>
                <a:lnTo>
                  <a:pt x="8800" y="3158"/>
                </a:lnTo>
                <a:lnTo>
                  <a:pt x="8800" y="3047"/>
                </a:lnTo>
                <a:close/>
                <a:moveTo>
                  <a:pt x="8800" y="3182"/>
                </a:moveTo>
                <a:lnTo>
                  <a:pt x="8861" y="3182"/>
                </a:lnTo>
                <a:lnTo>
                  <a:pt x="8861" y="3268"/>
                </a:lnTo>
                <a:lnTo>
                  <a:pt x="8800" y="3268"/>
                </a:lnTo>
                <a:lnTo>
                  <a:pt x="8800" y="3182"/>
                </a:lnTo>
                <a:close/>
                <a:moveTo>
                  <a:pt x="8800" y="3304"/>
                </a:moveTo>
                <a:lnTo>
                  <a:pt x="8861" y="3304"/>
                </a:lnTo>
                <a:lnTo>
                  <a:pt x="8861" y="3415"/>
                </a:lnTo>
                <a:lnTo>
                  <a:pt x="8800" y="3415"/>
                </a:lnTo>
                <a:lnTo>
                  <a:pt x="8800" y="3304"/>
                </a:lnTo>
                <a:close/>
                <a:moveTo>
                  <a:pt x="8800" y="3451"/>
                </a:moveTo>
                <a:lnTo>
                  <a:pt x="8861" y="3451"/>
                </a:lnTo>
                <a:lnTo>
                  <a:pt x="8861" y="3561"/>
                </a:lnTo>
                <a:lnTo>
                  <a:pt x="8800" y="3561"/>
                </a:lnTo>
                <a:lnTo>
                  <a:pt x="8800" y="3451"/>
                </a:lnTo>
                <a:close/>
                <a:moveTo>
                  <a:pt x="8800" y="3586"/>
                </a:moveTo>
                <a:lnTo>
                  <a:pt x="8861" y="3586"/>
                </a:lnTo>
                <a:lnTo>
                  <a:pt x="8861" y="3696"/>
                </a:lnTo>
                <a:lnTo>
                  <a:pt x="8800" y="3696"/>
                </a:lnTo>
                <a:lnTo>
                  <a:pt x="8800" y="3586"/>
                </a:lnTo>
                <a:close/>
                <a:moveTo>
                  <a:pt x="8800" y="3733"/>
                </a:moveTo>
                <a:lnTo>
                  <a:pt x="8861" y="3733"/>
                </a:lnTo>
                <a:lnTo>
                  <a:pt x="8861" y="3818"/>
                </a:lnTo>
                <a:lnTo>
                  <a:pt x="8800" y="3818"/>
                </a:lnTo>
                <a:lnTo>
                  <a:pt x="8800" y="3733"/>
                </a:lnTo>
                <a:close/>
                <a:moveTo>
                  <a:pt x="8506" y="2521"/>
                </a:moveTo>
                <a:lnTo>
                  <a:pt x="8445" y="2448"/>
                </a:lnTo>
                <a:lnTo>
                  <a:pt x="8506" y="2387"/>
                </a:lnTo>
                <a:lnTo>
                  <a:pt x="8506" y="2521"/>
                </a:lnTo>
                <a:close/>
                <a:moveTo>
                  <a:pt x="8482" y="2117"/>
                </a:moveTo>
                <a:lnTo>
                  <a:pt x="8359" y="2117"/>
                </a:lnTo>
                <a:lnTo>
                  <a:pt x="8420" y="2056"/>
                </a:lnTo>
                <a:lnTo>
                  <a:pt x="8482" y="2117"/>
                </a:lnTo>
                <a:close/>
                <a:moveTo>
                  <a:pt x="8359" y="1958"/>
                </a:moveTo>
                <a:lnTo>
                  <a:pt x="8482" y="1958"/>
                </a:lnTo>
                <a:lnTo>
                  <a:pt x="8420" y="2019"/>
                </a:lnTo>
                <a:lnTo>
                  <a:pt x="8359" y="1958"/>
                </a:lnTo>
                <a:close/>
                <a:moveTo>
                  <a:pt x="8482" y="2166"/>
                </a:moveTo>
                <a:lnTo>
                  <a:pt x="8420" y="2227"/>
                </a:lnTo>
                <a:lnTo>
                  <a:pt x="8359" y="2166"/>
                </a:lnTo>
                <a:lnTo>
                  <a:pt x="8482" y="2166"/>
                </a:lnTo>
                <a:close/>
                <a:moveTo>
                  <a:pt x="8482" y="2325"/>
                </a:moveTo>
                <a:lnTo>
                  <a:pt x="8359" y="2325"/>
                </a:lnTo>
                <a:lnTo>
                  <a:pt x="8420" y="2264"/>
                </a:lnTo>
                <a:lnTo>
                  <a:pt x="8482" y="2325"/>
                </a:lnTo>
                <a:close/>
                <a:moveTo>
                  <a:pt x="8482" y="2374"/>
                </a:moveTo>
                <a:lnTo>
                  <a:pt x="8420" y="2435"/>
                </a:lnTo>
                <a:lnTo>
                  <a:pt x="8359" y="2374"/>
                </a:lnTo>
                <a:lnTo>
                  <a:pt x="8482" y="2374"/>
                </a:lnTo>
                <a:close/>
                <a:moveTo>
                  <a:pt x="8482" y="2533"/>
                </a:moveTo>
                <a:lnTo>
                  <a:pt x="8359" y="2533"/>
                </a:lnTo>
                <a:lnTo>
                  <a:pt x="8420" y="2472"/>
                </a:lnTo>
                <a:lnTo>
                  <a:pt x="8482" y="2533"/>
                </a:lnTo>
                <a:close/>
                <a:moveTo>
                  <a:pt x="8506" y="2313"/>
                </a:moveTo>
                <a:lnTo>
                  <a:pt x="8445" y="2240"/>
                </a:lnTo>
                <a:lnTo>
                  <a:pt x="8506" y="2178"/>
                </a:lnTo>
                <a:lnTo>
                  <a:pt x="8506" y="2313"/>
                </a:lnTo>
                <a:close/>
                <a:moveTo>
                  <a:pt x="8506" y="2105"/>
                </a:moveTo>
                <a:lnTo>
                  <a:pt x="8445" y="2032"/>
                </a:lnTo>
                <a:lnTo>
                  <a:pt x="8506" y="1970"/>
                </a:lnTo>
                <a:lnTo>
                  <a:pt x="8506" y="2105"/>
                </a:lnTo>
                <a:close/>
                <a:moveTo>
                  <a:pt x="8335" y="1872"/>
                </a:moveTo>
                <a:lnTo>
                  <a:pt x="8506" y="1872"/>
                </a:lnTo>
                <a:lnTo>
                  <a:pt x="8506" y="1909"/>
                </a:lnTo>
                <a:lnTo>
                  <a:pt x="8335" y="1909"/>
                </a:lnTo>
                <a:lnTo>
                  <a:pt x="8335" y="1872"/>
                </a:lnTo>
                <a:close/>
                <a:moveTo>
                  <a:pt x="8335" y="1970"/>
                </a:moveTo>
                <a:lnTo>
                  <a:pt x="8396" y="2032"/>
                </a:lnTo>
                <a:lnTo>
                  <a:pt x="8335" y="2105"/>
                </a:lnTo>
                <a:lnTo>
                  <a:pt x="8335" y="1970"/>
                </a:lnTo>
                <a:close/>
                <a:moveTo>
                  <a:pt x="8335" y="2178"/>
                </a:moveTo>
                <a:lnTo>
                  <a:pt x="8396" y="2240"/>
                </a:lnTo>
                <a:lnTo>
                  <a:pt x="8335" y="2313"/>
                </a:lnTo>
                <a:lnTo>
                  <a:pt x="8335" y="2178"/>
                </a:lnTo>
                <a:close/>
                <a:moveTo>
                  <a:pt x="8335" y="2387"/>
                </a:moveTo>
                <a:lnTo>
                  <a:pt x="8396" y="2448"/>
                </a:lnTo>
                <a:lnTo>
                  <a:pt x="8335" y="2521"/>
                </a:lnTo>
                <a:lnTo>
                  <a:pt x="8335" y="2387"/>
                </a:lnTo>
                <a:close/>
                <a:moveTo>
                  <a:pt x="8335" y="2582"/>
                </a:moveTo>
                <a:lnTo>
                  <a:pt x="8506" y="2582"/>
                </a:lnTo>
                <a:lnTo>
                  <a:pt x="8506" y="2607"/>
                </a:lnTo>
                <a:lnTo>
                  <a:pt x="8335" y="2607"/>
                </a:lnTo>
                <a:lnTo>
                  <a:pt x="8335" y="2582"/>
                </a:lnTo>
                <a:close/>
                <a:moveTo>
                  <a:pt x="7637" y="2582"/>
                </a:moveTo>
                <a:lnTo>
                  <a:pt x="7637" y="2533"/>
                </a:lnTo>
                <a:lnTo>
                  <a:pt x="7637" y="2374"/>
                </a:lnTo>
                <a:lnTo>
                  <a:pt x="7637" y="2325"/>
                </a:lnTo>
                <a:lnTo>
                  <a:pt x="7637" y="2166"/>
                </a:lnTo>
                <a:lnTo>
                  <a:pt x="7637" y="2117"/>
                </a:lnTo>
                <a:lnTo>
                  <a:pt x="7637" y="1958"/>
                </a:lnTo>
                <a:lnTo>
                  <a:pt x="7637" y="1909"/>
                </a:lnTo>
                <a:lnTo>
                  <a:pt x="7637" y="1872"/>
                </a:lnTo>
                <a:lnTo>
                  <a:pt x="8286" y="1872"/>
                </a:lnTo>
                <a:lnTo>
                  <a:pt x="8286" y="2607"/>
                </a:lnTo>
                <a:lnTo>
                  <a:pt x="7637" y="2607"/>
                </a:lnTo>
                <a:lnTo>
                  <a:pt x="7637" y="2582"/>
                </a:lnTo>
                <a:close/>
                <a:moveTo>
                  <a:pt x="7735" y="3158"/>
                </a:moveTo>
                <a:lnTo>
                  <a:pt x="7735" y="2925"/>
                </a:lnTo>
                <a:lnTo>
                  <a:pt x="7784" y="2925"/>
                </a:lnTo>
                <a:lnTo>
                  <a:pt x="7784" y="2790"/>
                </a:lnTo>
                <a:lnTo>
                  <a:pt x="8163" y="2790"/>
                </a:lnTo>
                <a:lnTo>
                  <a:pt x="8163" y="2925"/>
                </a:lnTo>
                <a:lnTo>
                  <a:pt x="8212" y="2925"/>
                </a:lnTo>
                <a:lnTo>
                  <a:pt x="8212" y="3158"/>
                </a:lnTo>
                <a:lnTo>
                  <a:pt x="8163" y="3158"/>
                </a:lnTo>
                <a:lnTo>
                  <a:pt x="8163" y="3268"/>
                </a:lnTo>
                <a:lnTo>
                  <a:pt x="7784" y="3268"/>
                </a:lnTo>
                <a:lnTo>
                  <a:pt x="7784" y="3158"/>
                </a:lnTo>
                <a:lnTo>
                  <a:pt x="7735" y="3158"/>
                </a:lnTo>
                <a:close/>
                <a:moveTo>
                  <a:pt x="8359" y="3451"/>
                </a:moveTo>
                <a:lnTo>
                  <a:pt x="8359" y="3818"/>
                </a:lnTo>
                <a:lnTo>
                  <a:pt x="8200" y="3818"/>
                </a:lnTo>
                <a:lnTo>
                  <a:pt x="8200" y="3635"/>
                </a:lnTo>
                <a:lnTo>
                  <a:pt x="7625" y="3635"/>
                </a:lnTo>
                <a:lnTo>
                  <a:pt x="7625" y="3818"/>
                </a:lnTo>
                <a:lnTo>
                  <a:pt x="7527" y="3818"/>
                </a:lnTo>
                <a:lnTo>
                  <a:pt x="7527" y="3451"/>
                </a:lnTo>
                <a:lnTo>
                  <a:pt x="8359" y="3451"/>
                </a:lnTo>
                <a:close/>
                <a:moveTo>
                  <a:pt x="7502" y="2019"/>
                </a:moveTo>
                <a:lnTo>
                  <a:pt x="7453" y="1958"/>
                </a:lnTo>
                <a:lnTo>
                  <a:pt x="7564" y="1958"/>
                </a:lnTo>
                <a:lnTo>
                  <a:pt x="7502" y="2019"/>
                </a:lnTo>
                <a:close/>
                <a:moveTo>
                  <a:pt x="7588" y="1970"/>
                </a:moveTo>
                <a:lnTo>
                  <a:pt x="7588" y="2105"/>
                </a:lnTo>
                <a:lnTo>
                  <a:pt x="7527" y="2032"/>
                </a:lnTo>
                <a:lnTo>
                  <a:pt x="7588" y="1970"/>
                </a:lnTo>
                <a:close/>
                <a:moveTo>
                  <a:pt x="7576" y="2117"/>
                </a:moveTo>
                <a:lnTo>
                  <a:pt x="7441" y="2117"/>
                </a:lnTo>
                <a:lnTo>
                  <a:pt x="7502" y="2056"/>
                </a:lnTo>
                <a:lnTo>
                  <a:pt x="7576" y="2117"/>
                </a:lnTo>
                <a:close/>
                <a:moveTo>
                  <a:pt x="7588" y="2178"/>
                </a:moveTo>
                <a:lnTo>
                  <a:pt x="7588" y="2313"/>
                </a:lnTo>
                <a:lnTo>
                  <a:pt x="7527" y="2240"/>
                </a:lnTo>
                <a:lnTo>
                  <a:pt x="7588" y="2178"/>
                </a:lnTo>
                <a:close/>
                <a:moveTo>
                  <a:pt x="7564" y="2166"/>
                </a:moveTo>
                <a:lnTo>
                  <a:pt x="7502" y="2227"/>
                </a:lnTo>
                <a:lnTo>
                  <a:pt x="7453" y="2166"/>
                </a:lnTo>
                <a:lnTo>
                  <a:pt x="7564" y="2166"/>
                </a:lnTo>
                <a:close/>
                <a:moveTo>
                  <a:pt x="7576" y="2325"/>
                </a:moveTo>
                <a:lnTo>
                  <a:pt x="7441" y="2325"/>
                </a:lnTo>
                <a:lnTo>
                  <a:pt x="7502" y="2264"/>
                </a:lnTo>
                <a:lnTo>
                  <a:pt x="7576" y="2325"/>
                </a:lnTo>
                <a:close/>
                <a:moveTo>
                  <a:pt x="7564" y="2374"/>
                </a:moveTo>
                <a:lnTo>
                  <a:pt x="7502" y="2435"/>
                </a:lnTo>
                <a:lnTo>
                  <a:pt x="7453" y="2374"/>
                </a:lnTo>
                <a:lnTo>
                  <a:pt x="7564" y="2374"/>
                </a:lnTo>
                <a:close/>
                <a:moveTo>
                  <a:pt x="7576" y="2533"/>
                </a:moveTo>
                <a:lnTo>
                  <a:pt x="7441" y="2533"/>
                </a:lnTo>
                <a:lnTo>
                  <a:pt x="7502" y="2472"/>
                </a:lnTo>
                <a:lnTo>
                  <a:pt x="7576" y="2533"/>
                </a:lnTo>
                <a:close/>
                <a:moveTo>
                  <a:pt x="7527" y="2448"/>
                </a:moveTo>
                <a:lnTo>
                  <a:pt x="7588" y="2387"/>
                </a:lnTo>
                <a:lnTo>
                  <a:pt x="7588" y="2521"/>
                </a:lnTo>
                <a:lnTo>
                  <a:pt x="7527" y="2448"/>
                </a:lnTo>
                <a:close/>
                <a:moveTo>
                  <a:pt x="7417" y="1872"/>
                </a:moveTo>
                <a:lnTo>
                  <a:pt x="7588" y="1872"/>
                </a:lnTo>
                <a:lnTo>
                  <a:pt x="7588" y="1909"/>
                </a:lnTo>
                <a:lnTo>
                  <a:pt x="7417" y="1909"/>
                </a:lnTo>
                <a:lnTo>
                  <a:pt x="7417" y="1872"/>
                </a:lnTo>
                <a:close/>
                <a:moveTo>
                  <a:pt x="7417" y="1970"/>
                </a:moveTo>
                <a:lnTo>
                  <a:pt x="7490" y="2032"/>
                </a:lnTo>
                <a:lnTo>
                  <a:pt x="7417" y="2105"/>
                </a:lnTo>
                <a:lnTo>
                  <a:pt x="7417" y="1970"/>
                </a:lnTo>
                <a:close/>
                <a:moveTo>
                  <a:pt x="7417" y="2178"/>
                </a:moveTo>
                <a:lnTo>
                  <a:pt x="7490" y="2240"/>
                </a:lnTo>
                <a:lnTo>
                  <a:pt x="7417" y="2313"/>
                </a:lnTo>
                <a:lnTo>
                  <a:pt x="7417" y="2178"/>
                </a:lnTo>
                <a:close/>
                <a:moveTo>
                  <a:pt x="7417" y="2387"/>
                </a:moveTo>
                <a:lnTo>
                  <a:pt x="7490" y="2448"/>
                </a:lnTo>
                <a:lnTo>
                  <a:pt x="7417" y="2521"/>
                </a:lnTo>
                <a:lnTo>
                  <a:pt x="7417" y="2387"/>
                </a:lnTo>
                <a:close/>
                <a:moveTo>
                  <a:pt x="7417" y="2582"/>
                </a:moveTo>
                <a:lnTo>
                  <a:pt x="7588" y="2582"/>
                </a:lnTo>
                <a:lnTo>
                  <a:pt x="7588" y="2607"/>
                </a:lnTo>
                <a:lnTo>
                  <a:pt x="7417" y="2607"/>
                </a:lnTo>
                <a:lnTo>
                  <a:pt x="7417" y="2582"/>
                </a:lnTo>
                <a:close/>
                <a:moveTo>
                  <a:pt x="7307" y="1872"/>
                </a:moveTo>
                <a:lnTo>
                  <a:pt x="7368" y="1872"/>
                </a:lnTo>
                <a:lnTo>
                  <a:pt x="7368" y="2607"/>
                </a:lnTo>
                <a:lnTo>
                  <a:pt x="7307" y="2607"/>
                </a:lnTo>
                <a:lnTo>
                  <a:pt x="7307" y="1872"/>
                </a:lnTo>
                <a:close/>
                <a:moveTo>
                  <a:pt x="7307" y="2790"/>
                </a:moveTo>
                <a:lnTo>
                  <a:pt x="7539" y="2790"/>
                </a:lnTo>
                <a:lnTo>
                  <a:pt x="7539" y="2925"/>
                </a:lnTo>
                <a:lnTo>
                  <a:pt x="7588" y="2925"/>
                </a:lnTo>
                <a:lnTo>
                  <a:pt x="7588" y="3158"/>
                </a:lnTo>
                <a:lnTo>
                  <a:pt x="7539" y="3158"/>
                </a:lnTo>
                <a:lnTo>
                  <a:pt x="7539" y="3268"/>
                </a:lnTo>
                <a:lnTo>
                  <a:pt x="7307" y="3268"/>
                </a:lnTo>
                <a:lnTo>
                  <a:pt x="7307" y="2790"/>
                </a:lnTo>
                <a:close/>
                <a:moveTo>
                  <a:pt x="7294" y="918"/>
                </a:moveTo>
                <a:lnTo>
                  <a:pt x="7294" y="881"/>
                </a:lnTo>
                <a:lnTo>
                  <a:pt x="7307" y="869"/>
                </a:lnTo>
                <a:lnTo>
                  <a:pt x="7356" y="918"/>
                </a:lnTo>
                <a:lnTo>
                  <a:pt x="7294" y="918"/>
                </a:lnTo>
                <a:close/>
                <a:moveTo>
                  <a:pt x="7294" y="820"/>
                </a:moveTo>
                <a:lnTo>
                  <a:pt x="7294" y="783"/>
                </a:lnTo>
                <a:lnTo>
                  <a:pt x="7356" y="783"/>
                </a:lnTo>
                <a:lnTo>
                  <a:pt x="7307" y="832"/>
                </a:lnTo>
                <a:lnTo>
                  <a:pt x="7294" y="820"/>
                </a:lnTo>
                <a:close/>
                <a:moveTo>
                  <a:pt x="7368" y="893"/>
                </a:moveTo>
                <a:lnTo>
                  <a:pt x="7331" y="857"/>
                </a:lnTo>
                <a:lnTo>
                  <a:pt x="7368" y="808"/>
                </a:lnTo>
                <a:lnTo>
                  <a:pt x="7368" y="893"/>
                </a:lnTo>
                <a:close/>
                <a:moveTo>
                  <a:pt x="7441" y="857"/>
                </a:moveTo>
                <a:lnTo>
                  <a:pt x="7392" y="893"/>
                </a:lnTo>
                <a:lnTo>
                  <a:pt x="7392" y="808"/>
                </a:lnTo>
                <a:lnTo>
                  <a:pt x="7441" y="857"/>
                </a:lnTo>
                <a:close/>
                <a:moveTo>
                  <a:pt x="7417" y="783"/>
                </a:moveTo>
                <a:lnTo>
                  <a:pt x="7502" y="783"/>
                </a:lnTo>
                <a:lnTo>
                  <a:pt x="7453" y="832"/>
                </a:lnTo>
                <a:lnTo>
                  <a:pt x="7417" y="783"/>
                </a:lnTo>
                <a:close/>
                <a:moveTo>
                  <a:pt x="7405" y="918"/>
                </a:moveTo>
                <a:lnTo>
                  <a:pt x="7453" y="869"/>
                </a:lnTo>
                <a:lnTo>
                  <a:pt x="7502" y="918"/>
                </a:lnTo>
                <a:lnTo>
                  <a:pt x="7405" y="918"/>
                </a:lnTo>
                <a:close/>
                <a:moveTo>
                  <a:pt x="7515" y="893"/>
                </a:moveTo>
                <a:lnTo>
                  <a:pt x="7466" y="857"/>
                </a:lnTo>
                <a:lnTo>
                  <a:pt x="7515" y="808"/>
                </a:lnTo>
                <a:lnTo>
                  <a:pt x="7515" y="893"/>
                </a:lnTo>
                <a:close/>
                <a:moveTo>
                  <a:pt x="7588" y="857"/>
                </a:moveTo>
                <a:lnTo>
                  <a:pt x="7539" y="893"/>
                </a:lnTo>
                <a:lnTo>
                  <a:pt x="7539" y="808"/>
                </a:lnTo>
                <a:lnTo>
                  <a:pt x="7588" y="857"/>
                </a:lnTo>
                <a:close/>
                <a:moveTo>
                  <a:pt x="7551" y="783"/>
                </a:moveTo>
                <a:lnTo>
                  <a:pt x="7649" y="783"/>
                </a:lnTo>
                <a:lnTo>
                  <a:pt x="7600" y="832"/>
                </a:lnTo>
                <a:lnTo>
                  <a:pt x="7551" y="783"/>
                </a:lnTo>
                <a:close/>
                <a:moveTo>
                  <a:pt x="7551" y="918"/>
                </a:moveTo>
                <a:lnTo>
                  <a:pt x="7600" y="869"/>
                </a:lnTo>
                <a:lnTo>
                  <a:pt x="7649" y="918"/>
                </a:lnTo>
                <a:lnTo>
                  <a:pt x="7551" y="918"/>
                </a:lnTo>
                <a:close/>
                <a:moveTo>
                  <a:pt x="7662" y="893"/>
                </a:moveTo>
                <a:lnTo>
                  <a:pt x="7613" y="857"/>
                </a:lnTo>
                <a:lnTo>
                  <a:pt x="7662" y="808"/>
                </a:lnTo>
                <a:lnTo>
                  <a:pt x="7662" y="893"/>
                </a:lnTo>
                <a:close/>
                <a:moveTo>
                  <a:pt x="7735" y="918"/>
                </a:moveTo>
                <a:lnTo>
                  <a:pt x="7698" y="918"/>
                </a:lnTo>
                <a:lnTo>
                  <a:pt x="7735" y="881"/>
                </a:lnTo>
                <a:lnTo>
                  <a:pt x="7735" y="918"/>
                </a:lnTo>
                <a:close/>
                <a:moveTo>
                  <a:pt x="7686" y="893"/>
                </a:moveTo>
                <a:lnTo>
                  <a:pt x="7686" y="808"/>
                </a:lnTo>
                <a:lnTo>
                  <a:pt x="7735" y="857"/>
                </a:lnTo>
                <a:lnTo>
                  <a:pt x="7686" y="893"/>
                </a:lnTo>
                <a:close/>
                <a:moveTo>
                  <a:pt x="7735" y="783"/>
                </a:moveTo>
                <a:lnTo>
                  <a:pt x="7735" y="820"/>
                </a:lnTo>
                <a:lnTo>
                  <a:pt x="7698" y="783"/>
                </a:lnTo>
                <a:lnTo>
                  <a:pt x="7735" y="783"/>
                </a:lnTo>
                <a:close/>
                <a:moveTo>
                  <a:pt x="7258" y="673"/>
                </a:moveTo>
                <a:lnTo>
                  <a:pt x="7258" y="526"/>
                </a:lnTo>
                <a:lnTo>
                  <a:pt x="7258" y="490"/>
                </a:lnTo>
                <a:lnTo>
                  <a:pt x="7258" y="343"/>
                </a:lnTo>
                <a:lnTo>
                  <a:pt x="7258" y="318"/>
                </a:lnTo>
                <a:lnTo>
                  <a:pt x="7698" y="759"/>
                </a:lnTo>
                <a:lnTo>
                  <a:pt x="7686" y="759"/>
                </a:lnTo>
                <a:lnTo>
                  <a:pt x="7662" y="759"/>
                </a:lnTo>
                <a:lnTo>
                  <a:pt x="7539" y="759"/>
                </a:lnTo>
                <a:lnTo>
                  <a:pt x="7515" y="759"/>
                </a:lnTo>
                <a:lnTo>
                  <a:pt x="7392" y="759"/>
                </a:lnTo>
                <a:lnTo>
                  <a:pt x="7368" y="759"/>
                </a:lnTo>
                <a:lnTo>
                  <a:pt x="7294" y="759"/>
                </a:lnTo>
                <a:lnTo>
                  <a:pt x="7294" y="673"/>
                </a:lnTo>
                <a:lnTo>
                  <a:pt x="7258" y="673"/>
                </a:lnTo>
                <a:lnTo>
                  <a:pt x="7258" y="673"/>
                </a:lnTo>
                <a:close/>
                <a:moveTo>
                  <a:pt x="7209" y="1995"/>
                </a:moveTo>
                <a:lnTo>
                  <a:pt x="7147" y="2068"/>
                </a:lnTo>
                <a:lnTo>
                  <a:pt x="7074" y="1995"/>
                </a:lnTo>
                <a:lnTo>
                  <a:pt x="7209" y="1995"/>
                </a:lnTo>
                <a:close/>
                <a:moveTo>
                  <a:pt x="7086" y="1946"/>
                </a:moveTo>
                <a:lnTo>
                  <a:pt x="7147" y="1872"/>
                </a:lnTo>
                <a:lnTo>
                  <a:pt x="7209" y="1946"/>
                </a:lnTo>
                <a:lnTo>
                  <a:pt x="7086" y="1946"/>
                </a:lnTo>
                <a:close/>
                <a:moveTo>
                  <a:pt x="7209" y="2191"/>
                </a:moveTo>
                <a:lnTo>
                  <a:pt x="7086" y="2191"/>
                </a:lnTo>
                <a:lnTo>
                  <a:pt x="7147" y="2117"/>
                </a:lnTo>
                <a:lnTo>
                  <a:pt x="7209" y="2191"/>
                </a:lnTo>
                <a:close/>
                <a:moveTo>
                  <a:pt x="7209" y="2240"/>
                </a:moveTo>
                <a:lnTo>
                  <a:pt x="7147" y="2313"/>
                </a:lnTo>
                <a:lnTo>
                  <a:pt x="7074" y="2240"/>
                </a:lnTo>
                <a:lnTo>
                  <a:pt x="7209" y="2240"/>
                </a:lnTo>
                <a:close/>
                <a:moveTo>
                  <a:pt x="7209" y="2435"/>
                </a:moveTo>
                <a:lnTo>
                  <a:pt x="7086" y="2435"/>
                </a:lnTo>
                <a:lnTo>
                  <a:pt x="7147" y="2362"/>
                </a:lnTo>
                <a:lnTo>
                  <a:pt x="7209" y="2435"/>
                </a:lnTo>
                <a:close/>
                <a:moveTo>
                  <a:pt x="7209" y="2484"/>
                </a:moveTo>
                <a:lnTo>
                  <a:pt x="7147" y="2558"/>
                </a:lnTo>
                <a:lnTo>
                  <a:pt x="7074" y="2484"/>
                </a:lnTo>
                <a:lnTo>
                  <a:pt x="7209" y="2484"/>
                </a:lnTo>
                <a:close/>
                <a:moveTo>
                  <a:pt x="7233" y="2509"/>
                </a:moveTo>
                <a:lnTo>
                  <a:pt x="7233" y="2656"/>
                </a:lnTo>
                <a:lnTo>
                  <a:pt x="7172" y="2582"/>
                </a:lnTo>
                <a:lnTo>
                  <a:pt x="7233" y="2509"/>
                </a:lnTo>
                <a:close/>
                <a:moveTo>
                  <a:pt x="7172" y="2338"/>
                </a:moveTo>
                <a:lnTo>
                  <a:pt x="7233" y="2264"/>
                </a:lnTo>
                <a:lnTo>
                  <a:pt x="7233" y="2411"/>
                </a:lnTo>
                <a:lnTo>
                  <a:pt x="7172" y="2338"/>
                </a:lnTo>
                <a:close/>
                <a:moveTo>
                  <a:pt x="7172" y="2093"/>
                </a:moveTo>
                <a:lnTo>
                  <a:pt x="7233" y="2019"/>
                </a:lnTo>
                <a:lnTo>
                  <a:pt x="7233" y="2166"/>
                </a:lnTo>
                <a:lnTo>
                  <a:pt x="7172" y="2093"/>
                </a:lnTo>
                <a:close/>
                <a:moveTo>
                  <a:pt x="7172" y="1848"/>
                </a:moveTo>
                <a:lnTo>
                  <a:pt x="7233" y="1775"/>
                </a:lnTo>
                <a:lnTo>
                  <a:pt x="7233" y="1921"/>
                </a:lnTo>
                <a:lnTo>
                  <a:pt x="7172" y="1848"/>
                </a:lnTo>
                <a:close/>
                <a:moveTo>
                  <a:pt x="7196" y="526"/>
                </a:moveTo>
                <a:lnTo>
                  <a:pt x="7147" y="587"/>
                </a:lnTo>
                <a:lnTo>
                  <a:pt x="7099" y="526"/>
                </a:lnTo>
                <a:lnTo>
                  <a:pt x="7196" y="526"/>
                </a:lnTo>
                <a:close/>
                <a:moveTo>
                  <a:pt x="7099" y="490"/>
                </a:moveTo>
                <a:lnTo>
                  <a:pt x="7147" y="428"/>
                </a:lnTo>
                <a:lnTo>
                  <a:pt x="7196" y="490"/>
                </a:lnTo>
                <a:lnTo>
                  <a:pt x="7099" y="490"/>
                </a:lnTo>
                <a:close/>
                <a:moveTo>
                  <a:pt x="7221" y="538"/>
                </a:moveTo>
                <a:lnTo>
                  <a:pt x="7221" y="661"/>
                </a:lnTo>
                <a:lnTo>
                  <a:pt x="7172" y="600"/>
                </a:lnTo>
                <a:lnTo>
                  <a:pt x="7221" y="538"/>
                </a:lnTo>
                <a:close/>
                <a:moveTo>
                  <a:pt x="7196" y="673"/>
                </a:moveTo>
                <a:lnTo>
                  <a:pt x="7099" y="673"/>
                </a:lnTo>
                <a:lnTo>
                  <a:pt x="7147" y="624"/>
                </a:lnTo>
                <a:lnTo>
                  <a:pt x="7196" y="673"/>
                </a:lnTo>
                <a:close/>
                <a:moveTo>
                  <a:pt x="7209" y="1297"/>
                </a:moveTo>
                <a:lnTo>
                  <a:pt x="7147" y="1358"/>
                </a:lnTo>
                <a:lnTo>
                  <a:pt x="7099" y="1297"/>
                </a:lnTo>
                <a:lnTo>
                  <a:pt x="7209" y="1297"/>
                </a:lnTo>
                <a:close/>
                <a:moveTo>
                  <a:pt x="7099" y="1261"/>
                </a:moveTo>
                <a:lnTo>
                  <a:pt x="7147" y="1212"/>
                </a:lnTo>
                <a:lnTo>
                  <a:pt x="7196" y="1261"/>
                </a:lnTo>
                <a:lnTo>
                  <a:pt x="7099" y="1261"/>
                </a:lnTo>
                <a:close/>
                <a:moveTo>
                  <a:pt x="7196" y="1444"/>
                </a:moveTo>
                <a:lnTo>
                  <a:pt x="7099" y="1444"/>
                </a:lnTo>
                <a:lnTo>
                  <a:pt x="7147" y="1395"/>
                </a:lnTo>
                <a:lnTo>
                  <a:pt x="7196" y="1444"/>
                </a:lnTo>
                <a:close/>
                <a:moveTo>
                  <a:pt x="7209" y="1481"/>
                </a:moveTo>
                <a:lnTo>
                  <a:pt x="7147" y="1542"/>
                </a:lnTo>
                <a:lnTo>
                  <a:pt x="7099" y="1481"/>
                </a:lnTo>
                <a:lnTo>
                  <a:pt x="7209" y="1481"/>
                </a:lnTo>
                <a:close/>
                <a:moveTo>
                  <a:pt x="7221" y="1505"/>
                </a:moveTo>
                <a:lnTo>
                  <a:pt x="7221" y="1615"/>
                </a:lnTo>
                <a:lnTo>
                  <a:pt x="7172" y="1567"/>
                </a:lnTo>
                <a:lnTo>
                  <a:pt x="7221" y="1505"/>
                </a:lnTo>
                <a:close/>
                <a:moveTo>
                  <a:pt x="7172" y="1371"/>
                </a:moveTo>
                <a:lnTo>
                  <a:pt x="7221" y="1322"/>
                </a:lnTo>
                <a:lnTo>
                  <a:pt x="7221" y="1432"/>
                </a:lnTo>
                <a:lnTo>
                  <a:pt x="7172" y="1371"/>
                </a:lnTo>
                <a:close/>
                <a:moveTo>
                  <a:pt x="7172" y="1187"/>
                </a:moveTo>
                <a:lnTo>
                  <a:pt x="7221" y="1126"/>
                </a:lnTo>
                <a:lnTo>
                  <a:pt x="7221" y="1248"/>
                </a:lnTo>
                <a:lnTo>
                  <a:pt x="7172" y="1187"/>
                </a:lnTo>
                <a:close/>
                <a:moveTo>
                  <a:pt x="7147" y="1175"/>
                </a:moveTo>
                <a:lnTo>
                  <a:pt x="7099" y="1114"/>
                </a:lnTo>
                <a:lnTo>
                  <a:pt x="7209" y="1114"/>
                </a:lnTo>
                <a:lnTo>
                  <a:pt x="7147" y="1175"/>
                </a:lnTo>
                <a:close/>
                <a:moveTo>
                  <a:pt x="7099" y="1077"/>
                </a:moveTo>
                <a:lnTo>
                  <a:pt x="7135" y="1028"/>
                </a:lnTo>
                <a:lnTo>
                  <a:pt x="7160" y="1028"/>
                </a:lnTo>
                <a:lnTo>
                  <a:pt x="7196" y="1077"/>
                </a:lnTo>
                <a:lnTo>
                  <a:pt x="7099" y="1077"/>
                </a:lnTo>
                <a:close/>
                <a:moveTo>
                  <a:pt x="7111" y="1028"/>
                </a:moveTo>
                <a:lnTo>
                  <a:pt x="7074" y="1065"/>
                </a:lnTo>
                <a:lnTo>
                  <a:pt x="7074" y="1028"/>
                </a:lnTo>
                <a:lnTo>
                  <a:pt x="7111" y="1028"/>
                </a:lnTo>
                <a:close/>
                <a:moveTo>
                  <a:pt x="7135" y="1187"/>
                </a:moveTo>
                <a:lnTo>
                  <a:pt x="7074" y="1248"/>
                </a:lnTo>
                <a:lnTo>
                  <a:pt x="7074" y="1126"/>
                </a:lnTo>
                <a:lnTo>
                  <a:pt x="7135" y="1187"/>
                </a:lnTo>
                <a:close/>
                <a:moveTo>
                  <a:pt x="7135" y="1371"/>
                </a:moveTo>
                <a:lnTo>
                  <a:pt x="7074" y="1432"/>
                </a:lnTo>
                <a:lnTo>
                  <a:pt x="7074" y="1310"/>
                </a:lnTo>
                <a:lnTo>
                  <a:pt x="7135" y="1371"/>
                </a:lnTo>
                <a:close/>
                <a:moveTo>
                  <a:pt x="7135" y="1567"/>
                </a:moveTo>
                <a:lnTo>
                  <a:pt x="7074" y="1628"/>
                </a:lnTo>
                <a:lnTo>
                  <a:pt x="7074" y="1505"/>
                </a:lnTo>
                <a:lnTo>
                  <a:pt x="7135" y="1567"/>
                </a:lnTo>
                <a:close/>
                <a:moveTo>
                  <a:pt x="7147" y="1579"/>
                </a:moveTo>
                <a:lnTo>
                  <a:pt x="7221" y="1652"/>
                </a:lnTo>
                <a:lnTo>
                  <a:pt x="7221" y="1701"/>
                </a:lnTo>
                <a:lnTo>
                  <a:pt x="7074" y="1701"/>
                </a:lnTo>
                <a:lnTo>
                  <a:pt x="7074" y="1664"/>
                </a:lnTo>
                <a:lnTo>
                  <a:pt x="7147" y="1579"/>
                </a:lnTo>
                <a:close/>
                <a:moveTo>
                  <a:pt x="7221" y="1065"/>
                </a:moveTo>
                <a:lnTo>
                  <a:pt x="7196" y="1028"/>
                </a:lnTo>
                <a:lnTo>
                  <a:pt x="7221" y="1028"/>
                </a:lnTo>
                <a:lnTo>
                  <a:pt x="7221" y="1065"/>
                </a:lnTo>
                <a:close/>
                <a:moveTo>
                  <a:pt x="7221" y="477"/>
                </a:moveTo>
                <a:lnTo>
                  <a:pt x="7172" y="416"/>
                </a:lnTo>
                <a:lnTo>
                  <a:pt x="7221" y="355"/>
                </a:lnTo>
                <a:lnTo>
                  <a:pt x="7221" y="477"/>
                </a:lnTo>
                <a:close/>
                <a:moveTo>
                  <a:pt x="7209" y="343"/>
                </a:moveTo>
                <a:lnTo>
                  <a:pt x="7147" y="392"/>
                </a:lnTo>
                <a:lnTo>
                  <a:pt x="7099" y="343"/>
                </a:lnTo>
                <a:lnTo>
                  <a:pt x="7209" y="343"/>
                </a:lnTo>
                <a:close/>
                <a:moveTo>
                  <a:pt x="7074" y="355"/>
                </a:moveTo>
                <a:lnTo>
                  <a:pt x="7135" y="416"/>
                </a:lnTo>
                <a:lnTo>
                  <a:pt x="7074" y="477"/>
                </a:lnTo>
                <a:lnTo>
                  <a:pt x="7074" y="355"/>
                </a:lnTo>
                <a:close/>
                <a:moveTo>
                  <a:pt x="7074" y="538"/>
                </a:moveTo>
                <a:lnTo>
                  <a:pt x="7135" y="600"/>
                </a:lnTo>
                <a:lnTo>
                  <a:pt x="7074" y="661"/>
                </a:lnTo>
                <a:lnTo>
                  <a:pt x="7074" y="538"/>
                </a:lnTo>
                <a:close/>
                <a:moveTo>
                  <a:pt x="7209" y="1750"/>
                </a:moveTo>
                <a:lnTo>
                  <a:pt x="7147" y="1824"/>
                </a:lnTo>
                <a:lnTo>
                  <a:pt x="7074" y="1750"/>
                </a:lnTo>
                <a:lnTo>
                  <a:pt x="7209" y="1750"/>
                </a:lnTo>
                <a:close/>
                <a:moveTo>
                  <a:pt x="7050" y="1775"/>
                </a:moveTo>
                <a:lnTo>
                  <a:pt x="7123" y="1848"/>
                </a:lnTo>
                <a:lnTo>
                  <a:pt x="7050" y="1934"/>
                </a:lnTo>
                <a:lnTo>
                  <a:pt x="7050" y="1775"/>
                </a:lnTo>
                <a:close/>
                <a:moveTo>
                  <a:pt x="7050" y="2019"/>
                </a:moveTo>
                <a:lnTo>
                  <a:pt x="7123" y="2093"/>
                </a:lnTo>
                <a:lnTo>
                  <a:pt x="7050" y="2178"/>
                </a:lnTo>
                <a:lnTo>
                  <a:pt x="7050" y="2019"/>
                </a:lnTo>
                <a:close/>
                <a:moveTo>
                  <a:pt x="7050" y="2264"/>
                </a:moveTo>
                <a:lnTo>
                  <a:pt x="7123" y="2338"/>
                </a:lnTo>
                <a:lnTo>
                  <a:pt x="7050" y="2423"/>
                </a:lnTo>
                <a:lnTo>
                  <a:pt x="7050" y="2264"/>
                </a:lnTo>
                <a:close/>
                <a:moveTo>
                  <a:pt x="7050" y="2497"/>
                </a:moveTo>
                <a:lnTo>
                  <a:pt x="7123" y="2582"/>
                </a:lnTo>
                <a:lnTo>
                  <a:pt x="7050" y="2656"/>
                </a:lnTo>
                <a:lnTo>
                  <a:pt x="7050" y="2497"/>
                </a:lnTo>
                <a:close/>
                <a:moveTo>
                  <a:pt x="7050" y="2705"/>
                </a:moveTo>
                <a:lnTo>
                  <a:pt x="7050" y="2705"/>
                </a:lnTo>
                <a:lnTo>
                  <a:pt x="7147" y="2607"/>
                </a:lnTo>
                <a:lnTo>
                  <a:pt x="7233" y="2705"/>
                </a:lnTo>
                <a:lnTo>
                  <a:pt x="7233" y="2741"/>
                </a:lnTo>
                <a:lnTo>
                  <a:pt x="7050" y="2741"/>
                </a:lnTo>
                <a:lnTo>
                  <a:pt x="7050" y="2705"/>
                </a:lnTo>
                <a:close/>
                <a:moveTo>
                  <a:pt x="7209" y="2986"/>
                </a:moveTo>
                <a:lnTo>
                  <a:pt x="7086" y="2986"/>
                </a:lnTo>
                <a:lnTo>
                  <a:pt x="7147" y="2913"/>
                </a:lnTo>
                <a:lnTo>
                  <a:pt x="7209" y="2986"/>
                </a:lnTo>
                <a:close/>
                <a:moveTo>
                  <a:pt x="7074" y="2790"/>
                </a:moveTo>
                <a:lnTo>
                  <a:pt x="7209" y="2790"/>
                </a:lnTo>
                <a:lnTo>
                  <a:pt x="7147" y="2864"/>
                </a:lnTo>
                <a:lnTo>
                  <a:pt x="7074" y="2790"/>
                </a:lnTo>
                <a:close/>
                <a:moveTo>
                  <a:pt x="7209" y="3035"/>
                </a:moveTo>
                <a:lnTo>
                  <a:pt x="7147" y="3109"/>
                </a:lnTo>
                <a:lnTo>
                  <a:pt x="7074" y="3035"/>
                </a:lnTo>
                <a:lnTo>
                  <a:pt x="7209" y="3035"/>
                </a:lnTo>
                <a:close/>
                <a:moveTo>
                  <a:pt x="7209" y="3231"/>
                </a:moveTo>
                <a:lnTo>
                  <a:pt x="7086" y="3231"/>
                </a:lnTo>
                <a:lnTo>
                  <a:pt x="7147" y="3158"/>
                </a:lnTo>
                <a:lnTo>
                  <a:pt x="7209" y="3231"/>
                </a:lnTo>
                <a:close/>
                <a:moveTo>
                  <a:pt x="7209" y="3280"/>
                </a:moveTo>
                <a:lnTo>
                  <a:pt x="7147" y="3353"/>
                </a:lnTo>
                <a:lnTo>
                  <a:pt x="7074" y="3280"/>
                </a:lnTo>
                <a:lnTo>
                  <a:pt x="7209" y="3280"/>
                </a:lnTo>
                <a:close/>
                <a:moveTo>
                  <a:pt x="7209" y="3476"/>
                </a:moveTo>
                <a:lnTo>
                  <a:pt x="7086" y="3476"/>
                </a:lnTo>
                <a:lnTo>
                  <a:pt x="7147" y="3402"/>
                </a:lnTo>
                <a:lnTo>
                  <a:pt x="7209" y="3476"/>
                </a:lnTo>
                <a:close/>
                <a:moveTo>
                  <a:pt x="7209" y="3525"/>
                </a:moveTo>
                <a:lnTo>
                  <a:pt x="7147" y="3598"/>
                </a:lnTo>
                <a:lnTo>
                  <a:pt x="7074" y="3525"/>
                </a:lnTo>
                <a:lnTo>
                  <a:pt x="7209" y="3525"/>
                </a:lnTo>
                <a:close/>
                <a:moveTo>
                  <a:pt x="7233" y="3549"/>
                </a:moveTo>
                <a:lnTo>
                  <a:pt x="7233" y="3696"/>
                </a:lnTo>
                <a:lnTo>
                  <a:pt x="7172" y="3623"/>
                </a:lnTo>
                <a:lnTo>
                  <a:pt x="7233" y="3549"/>
                </a:lnTo>
                <a:close/>
                <a:moveTo>
                  <a:pt x="7172" y="3378"/>
                </a:moveTo>
                <a:lnTo>
                  <a:pt x="7233" y="3304"/>
                </a:lnTo>
                <a:lnTo>
                  <a:pt x="7233" y="3451"/>
                </a:lnTo>
                <a:lnTo>
                  <a:pt x="7172" y="3378"/>
                </a:lnTo>
                <a:close/>
                <a:moveTo>
                  <a:pt x="7172" y="3133"/>
                </a:moveTo>
                <a:lnTo>
                  <a:pt x="7233" y="3060"/>
                </a:lnTo>
                <a:lnTo>
                  <a:pt x="7233" y="3207"/>
                </a:lnTo>
                <a:lnTo>
                  <a:pt x="7172" y="3133"/>
                </a:lnTo>
                <a:close/>
                <a:moveTo>
                  <a:pt x="7172" y="2888"/>
                </a:moveTo>
                <a:lnTo>
                  <a:pt x="7233" y="2815"/>
                </a:lnTo>
                <a:lnTo>
                  <a:pt x="7233" y="2962"/>
                </a:lnTo>
                <a:lnTo>
                  <a:pt x="7172" y="2888"/>
                </a:lnTo>
                <a:close/>
                <a:moveTo>
                  <a:pt x="7050" y="2815"/>
                </a:moveTo>
                <a:lnTo>
                  <a:pt x="7123" y="2888"/>
                </a:lnTo>
                <a:lnTo>
                  <a:pt x="7050" y="2974"/>
                </a:lnTo>
                <a:lnTo>
                  <a:pt x="7050" y="2815"/>
                </a:lnTo>
                <a:close/>
                <a:moveTo>
                  <a:pt x="7050" y="3060"/>
                </a:moveTo>
                <a:lnTo>
                  <a:pt x="7123" y="3133"/>
                </a:lnTo>
                <a:lnTo>
                  <a:pt x="7050" y="3219"/>
                </a:lnTo>
                <a:lnTo>
                  <a:pt x="7050" y="3060"/>
                </a:lnTo>
                <a:close/>
                <a:moveTo>
                  <a:pt x="7050" y="3292"/>
                </a:moveTo>
                <a:lnTo>
                  <a:pt x="7123" y="3378"/>
                </a:lnTo>
                <a:lnTo>
                  <a:pt x="7050" y="3451"/>
                </a:lnTo>
                <a:lnTo>
                  <a:pt x="7050" y="3292"/>
                </a:lnTo>
                <a:close/>
                <a:moveTo>
                  <a:pt x="7050" y="3537"/>
                </a:moveTo>
                <a:lnTo>
                  <a:pt x="7123" y="3623"/>
                </a:lnTo>
                <a:lnTo>
                  <a:pt x="7050" y="3696"/>
                </a:lnTo>
                <a:lnTo>
                  <a:pt x="7050" y="3537"/>
                </a:lnTo>
                <a:close/>
                <a:moveTo>
                  <a:pt x="7050" y="3806"/>
                </a:moveTo>
                <a:lnTo>
                  <a:pt x="7050" y="3745"/>
                </a:lnTo>
                <a:lnTo>
                  <a:pt x="7050" y="3745"/>
                </a:lnTo>
                <a:lnTo>
                  <a:pt x="7147" y="3647"/>
                </a:lnTo>
                <a:lnTo>
                  <a:pt x="7233" y="3745"/>
                </a:lnTo>
                <a:lnTo>
                  <a:pt x="7233" y="3806"/>
                </a:lnTo>
                <a:lnTo>
                  <a:pt x="7282" y="3806"/>
                </a:lnTo>
                <a:lnTo>
                  <a:pt x="7282" y="3818"/>
                </a:lnTo>
                <a:lnTo>
                  <a:pt x="7050" y="3818"/>
                </a:lnTo>
                <a:lnTo>
                  <a:pt x="7050" y="3806"/>
                </a:lnTo>
                <a:lnTo>
                  <a:pt x="7050" y="3806"/>
                </a:lnTo>
                <a:close/>
                <a:moveTo>
                  <a:pt x="6389" y="1383"/>
                </a:moveTo>
                <a:lnTo>
                  <a:pt x="6621" y="1383"/>
                </a:lnTo>
                <a:lnTo>
                  <a:pt x="6621" y="1493"/>
                </a:lnTo>
                <a:lnTo>
                  <a:pt x="6389" y="1493"/>
                </a:lnTo>
                <a:lnTo>
                  <a:pt x="6389" y="1383"/>
                </a:lnTo>
                <a:close/>
                <a:moveTo>
                  <a:pt x="6389" y="1554"/>
                </a:moveTo>
                <a:lnTo>
                  <a:pt x="6621" y="1554"/>
                </a:lnTo>
                <a:lnTo>
                  <a:pt x="6621" y="1664"/>
                </a:lnTo>
                <a:lnTo>
                  <a:pt x="6389" y="1664"/>
                </a:lnTo>
                <a:lnTo>
                  <a:pt x="6389" y="1554"/>
                </a:lnTo>
                <a:close/>
                <a:moveTo>
                  <a:pt x="6389" y="1713"/>
                </a:moveTo>
                <a:lnTo>
                  <a:pt x="6621" y="1713"/>
                </a:lnTo>
                <a:lnTo>
                  <a:pt x="6621" y="1824"/>
                </a:lnTo>
                <a:lnTo>
                  <a:pt x="6389" y="1824"/>
                </a:lnTo>
                <a:lnTo>
                  <a:pt x="6389" y="1713"/>
                </a:lnTo>
                <a:close/>
                <a:moveTo>
                  <a:pt x="6389" y="1885"/>
                </a:moveTo>
                <a:lnTo>
                  <a:pt x="6621" y="1885"/>
                </a:lnTo>
                <a:lnTo>
                  <a:pt x="6621" y="1995"/>
                </a:lnTo>
                <a:lnTo>
                  <a:pt x="6389" y="1995"/>
                </a:lnTo>
                <a:lnTo>
                  <a:pt x="6389" y="1885"/>
                </a:lnTo>
                <a:close/>
                <a:moveTo>
                  <a:pt x="6389" y="2044"/>
                </a:moveTo>
                <a:lnTo>
                  <a:pt x="6621" y="2044"/>
                </a:lnTo>
                <a:lnTo>
                  <a:pt x="6621" y="2154"/>
                </a:lnTo>
                <a:lnTo>
                  <a:pt x="6389" y="2154"/>
                </a:lnTo>
                <a:lnTo>
                  <a:pt x="6389" y="2044"/>
                </a:lnTo>
                <a:close/>
                <a:moveTo>
                  <a:pt x="6389" y="2215"/>
                </a:moveTo>
                <a:lnTo>
                  <a:pt x="6621" y="2215"/>
                </a:lnTo>
                <a:lnTo>
                  <a:pt x="6621" y="2325"/>
                </a:lnTo>
                <a:lnTo>
                  <a:pt x="6389" y="2325"/>
                </a:lnTo>
                <a:lnTo>
                  <a:pt x="6389" y="2215"/>
                </a:lnTo>
                <a:close/>
                <a:moveTo>
                  <a:pt x="6389" y="2374"/>
                </a:moveTo>
                <a:lnTo>
                  <a:pt x="6621" y="2374"/>
                </a:lnTo>
                <a:lnTo>
                  <a:pt x="6621" y="2484"/>
                </a:lnTo>
                <a:lnTo>
                  <a:pt x="6389" y="2484"/>
                </a:lnTo>
                <a:lnTo>
                  <a:pt x="6389" y="2374"/>
                </a:lnTo>
                <a:close/>
                <a:moveTo>
                  <a:pt x="6389" y="2546"/>
                </a:moveTo>
                <a:lnTo>
                  <a:pt x="6621" y="2546"/>
                </a:lnTo>
                <a:lnTo>
                  <a:pt x="6621" y="2656"/>
                </a:lnTo>
                <a:lnTo>
                  <a:pt x="6389" y="2656"/>
                </a:lnTo>
                <a:lnTo>
                  <a:pt x="6389" y="2546"/>
                </a:lnTo>
                <a:close/>
                <a:moveTo>
                  <a:pt x="6389" y="2705"/>
                </a:moveTo>
                <a:lnTo>
                  <a:pt x="6621" y="2705"/>
                </a:lnTo>
                <a:lnTo>
                  <a:pt x="6621" y="2815"/>
                </a:lnTo>
                <a:lnTo>
                  <a:pt x="6389" y="2815"/>
                </a:lnTo>
                <a:lnTo>
                  <a:pt x="6389" y="2705"/>
                </a:lnTo>
                <a:close/>
                <a:moveTo>
                  <a:pt x="6389" y="2876"/>
                </a:moveTo>
                <a:lnTo>
                  <a:pt x="6621" y="2876"/>
                </a:lnTo>
                <a:lnTo>
                  <a:pt x="6621" y="2974"/>
                </a:lnTo>
                <a:lnTo>
                  <a:pt x="6389" y="2974"/>
                </a:lnTo>
                <a:lnTo>
                  <a:pt x="6389" y="2876"/>
                </a:lnTo>
                <a:close/>
                <a:moveTo>
                  <a:pt x="5985" y="1383"/>
                </a:moveTo>
                <a:lnTo>
                  <a:pt x="6217" y="1383"/>
                </a:lnTo>
                <a:lnTo>
                  <a:pt x="6217" y="1493"/>
                </a:lnTo>
                <a:lnTo>
                  <a:pt x="5985" y="1493"/>
                </a:lnTo>
                <a:lnTo>
                  <a:pt x="5985" y="1383"/>
                </a:lnTo>
                <a:close/>
                <a:moveTo>
                  <a:pt x="5985" y="1554"/>
                </a:moveTo>
                <a:lnTo>
                  <a:pt x="6217" y="1554"/>
                </a:lnTo>
                <a:lnTo>
                  <a:pt x="6217" y="1664"/>
                </a:lnTo>
                <a:lnTo>
                  <a:pt x="5985" y="1664"/>
                </a:lnTo>
                <a:lnTo>
                  <a:pt x="5985" y="1554"/>
                </a:lnTo>
                <a:close/>
                <a:moveTo>
                  <a:pt x="5985" y="1713"/>
                </a:moveTo>
                <a:lnTo>
                  <a:pt x="6217" y="1713"/>
                </a:lnTo>
                <a:lnTo>
                  <a:pt x="6217" y="1824"/>
                </a:lnTo>
                <a:lnTo>
                  <a:pt x="5985" y="1824"/>
                </a:lnTo>
                <a:lnTo>
                  <a:pt x="5985" y="1713"/>
                </a:lnTo>
                <a:close/>
                <a:moveTo>
                  <a:pt x="5985" y="1885"/>
                </a:moveTo>
                <a:lnTo>
                  <a:pt x="6217" y="1885"/>
                </a:lnTo>
                <a:lnTo>
                  <a:pt x="6217" y="1995"/>
                </a:lnTo>
                <a:lnTo>
                  <a:pt x="5985" y="1995"/>
                </a:lnTo>
                <a:lnTo>
                  <a:pt x="5985" y="1885"/>
                </a:lnTo>
                <a:close/>
                <a:moveTo>
                  <a:pt x="5985" y="2044"/>
                </a:moveTo>
                <a:lnTo>
                  <a:pt x="6217" y="2044"/>
                </a:lnTo>
                <a:lnTo>
                  <a:pt x="6217" y="2154"/>
                </a:lnTo>
                <a:lnTo>
                  <a:pt x="5985" y="2154"/>
                </a:lnTo>
                <a:lnTo>
                  <a:pt x="5985" y="2044"/>
                </a:lnTo>
                <a:close/>
                <a:moveTo>
                  <a:pt x="5985" y="2215"/>
                </a:moveTo>
                <a:lnTo>
                  <a:pt x="6217" y="2215"/>
                </a:lnTo>
                <a:lnTo>
                  <a:pt x="6217" y="2325"/>
                </a:lnTo>
                <a:lnTo>
                  <a:pt x="5985" y="2325"/>
                </a:lnTo>
                <a:lnTo>
                  <a:pt x="5985" y="2215"/>
                </a:lnTo>
                <a:close/>
                <a:moveTo>
                  <a:pt x="5985" y="2374"/>
                </a:moveTo>
                <a:lnTo>
                  <a:pt x="6217" y="2374"/>
                </a:lnTo>
                <a:lnTo>
                  <a:pt x="6217" y="2484"/>
                </a:lnTo>
                <a:lnTo>
                  <a:pt x="5985" y="2484"/>
                </a:lnTo>
                <a:lnTo>
                  <a:pt x="5985" y="2374"/>
                </a:lnTo>
                <a:close/>
                <a:moveTo>
                  <a:pt x="5985" y="2546"/>
                </a:moveTo>
                <a:lnTo>
                  <a:pt x="6217" y="2546"/>
                </a:lnTo>
                <a:lnTo>
                  <a:pt x="6217" y="2656"/>
                </a:lnTo>
                <a:lnTo>
                  <a:pt x="5985" y="2656"/>
                </a:lnTo>
                <a:lnTo>
                  <a:pt x="5985" y="2546"/>
                </a:lnTo>
                <a:close/>
                <a:moveTo>
                  <a:pt x="5985" y="2705"/>
                </a:moveTo>
                <a:lnTo>
                  <a:pt x="6217" y="2705"/>
                </a:lnTo>
                <a:lnTo>
                  <a:pt x="6217" y="2815"/>
                </a:lnTo>
                <a:lnTo>
                  <a:pt x="5985" y="2815"/>
                </a:lnTo>
                <a:lnTo>
                  <a:pt x="5985" y="2705"/>
                </a:lnTo>
                <a:close/>
                <a:moveTo>
                  <a:pt x="5985" y="2876"/>
                </a:moveTo>
                <a:lnTo>
                  <a:pt x="6217" y="2876"/>
                </a:lnTo>
                <a:lnTo>
                  <a:pt x="6217" y="2974"/>
                </a:lnTo>
                <a:lnTo>
                  <a:pt x="5985" y="2974"/>
                </a:lnTo>
                <a:lnTo>
                  <a:pt x="5985" y="2876"/>
                </a:lnTo>
                <a:close/>
                <a:moveTo>
                  <a:pt x="5312" y="3378"/>
                </a:moveTo>
                <a:lnTo>
                  <a:pt x="5373" y="3378"/>
                </a:lnTo>
                <a:lnTo>
                  <a:pt x="5373" y="3464"/>
                </a:lnTo>
                <a:lnTo>
                  <a:pt x="5312" y="3464"/>
                </a:lnTo>
                <a:lnTo>
                  <a:pt x="5312" y="3378"/>
                </a:lnTo>
                <a:close/>
                <a:moveTo>
                  <a:pt x="5312" y="3500"/>
                </a:moveTo>
                <a:lnTo>
                  <a:pt x="5373" y="3500"/>
                </a:lnTo>
                <a:lnTo>
                  <a:pt x="5373" y="3525"/>
                </a:lnTo>
                <a:lnTo>
                  <a:pt x="5312" y="3525"/>
                </a:lnTo>
                <a:lnTo>
                  <a:pt x="5312" y="3500"/>
                </a:lnTo>
                <a:close/>
                <a:moveTo>
                  <a:pt x="5312" y="3549"/>
                </a:moveTo>
                <a:lnTo>
                  <a:pt x="5373" y="3549"/>
                </a:lnTo>
                <a:lnTo>
                  <a:pt x="5373" y="3549"/>
                </a:lnTo>
                <a:lnTo>
                  <a:pt x="5312" y="3549"/>
                </a:lnTo>
                <a:lnTo>
                  <a:pt x="5312" y="3549"/>
                </a:lnTo>
                <a:close/>
                <a:moveTo>
                  <a:pt x="5312" y="3586"/>
                </a:moveTo>
                <a:lnTo>
                  <a:pt x="5373" y="3586"/>
                </a:lnTo>
                <a:lnTo>
                  <a:pt x="5373" y="3659"/>
                </a:lnTo>
                <a:lnTo>
                  <a:pt x="5312" y="3659"/>
                </a:lnTo>
                <a:lnTo>
                  <a:pt x="5312" y="3586"/>
                </a:lnTo>
                <a:close/>
                <a:moveTo>
                  <a:pt x="5312" y="3708"/>
                </a:moveTo>
                <a:lnTo>
                  <a:pt x="5373" y="3708"/>
                </a:lnTo>
                <a:lnTo>
                  <a:pt x="5373" y="3745"/>
                </a:lnTo>
                <a:lnTo>
                  <a:pt x="5312" y="3745"/>
                </a:lnTo>
                <a:lnTo>
                  <a:pt x="5312" y="3708"/>
                </a:lnTo>
                <a:close/>
                <a:moveTo>
                  <a:pt x="5373" y="3782"/>
                </a:moveTo>
                <a:lnTo>
                  <a:pt x="5373" y="3818"/>
                </a:lnTo>
                <a:lnTo>
                  <a:pt x="5312" y="3818"/>
                </a:lnTo>
                <a:lnTo>
                  <a:pt x="5312" y="3782"/>
                </a:lnTo>
                <a:lnTo>
                  <a:pt x="5373" y="3782"/>
                </a:lnTo>
                <a:close/>
                <a:moveTo>
                  <a:pt x="5275" y="3549"/>
                </a:moveTo>
                <a:lnTo>
                  <a:pt x="5275" y="3549"/>
                </a:lnTo>
                <a:lnTo>
                  <a:pt x="5238" y="3549"/>
                </a:lnTo>
                <a:lnTo>
                  <a:pt x="5238" y="3549"/>
                </a:lnTo>
                <a:lnTo>
                  <a:pt x="5275" y="3549"/>
                </a:lnTo>
                <a:close/>
                <a:moveTo>
                  <a:pt x="5238" y="3525"/>
                </a:moveTo>
                <a:lnTo>
                  <a:pt x="5238" y="3500"/>
                </a:lnTo>
                <a:lnTo>
                  <a:pt x="5275" y="3500"/>
                </a:lnTo>
                <a:lnTo>
                  <a:pt x="5275" y="3525"/>
                </a:lnTo>
                <a:lnTo>
                  <a:pt x="5238" y="3525"/>
                </a:lnTo>
                <a:close/>
                <a:moveTo>
                  <a:pt x="5275" y="3586"/>
                </a:moveTo>
                <a:lnTo>
                  <a:pt x="5275" y="3659"/>
                </a:lnTo>
                <a:lnTo>
                  <a:pt x="5238" y="3659"/>
                </a:lnTo>
                <a:lnTo>
                  <a:pt x="5238" y="3586"/>
                </a:lnTo>
                <a:lnTo>
                  <a:pt x="5275" y="3586"/>
                </a:lnTo>
                <a:close/>
                <a:moveTo>
                  <a:pt x="5275" y="3708"/>
                </a:moveTo>
                <a:lnTo>
                  <a:pt x="5275" y="3745"/>
                </a:lnTo>
                <a:lnTo>
                  <a:pt x="5238" y="3745"/>
                </a:lnTo>
                <a:lnTo>
                  <a:pt x="5238" y="3708"/>
                </a:lnTo>
                <a:lnTo>
                  <a:pt x="5275" y="3708"/>
                </a:lnTo>
                <a:close/>
                <a:moveTo>
                  <a:pt x="5275" y="3782"/>
                </a:moveTo>
                <a:lnTo>
                  <a:pt x="5275" y="3818"/>
                </a:lnTo>
                <a:lnTo>
                  <a:pt x="5238" y="3818"/>
                </a:lnTo>
                <a:lnTo>
                  <a:pt x="5238" y="3782"/>
                </a:lnTo>
                <a:lnTo>
                  <a:pt x="5275" y="3782"/>
                </a:lnTo>
                <a:close/>
                <a:moveTo>
                  <a:pt x="5189" y="3047"/>
                </a:moveTo>
                <a:lnTo>
                  <a:pt x="5275" y="3047"/>
                </a:lnTo>
                <a:lnTo>
                  <a:pt x="5275" y="3182"/>
                </a:lnTo>
                <a:lnTo>
                  <a:pt x="5189" y="3182"/>
                </a:lnTo>
                <a:lnTo>
                  <a:pt x="5189" y="3047"/>
                </a:lnTo>
                <a:close/>
                <a:moveTo>
                  <a:pt x="5189" y="3207"/>
                </a:moveTo>
                <a:lnTo>
                  <a:pt x="5275" y="3207"/>
                </a:lnTo>
                <a:lnTo>
                  <a:pt x="5275" y="3341"/>
                </a:lnTo>
                <a:lnTo>
                  <a:pt x="5189" y="3341"/>
                </a:lnTo>
                <a:lnTo>
                  <a:pt x="5189" y="3207"/>
                </a:lnTo>
                <a:close/>
                <a:moveTo>
                  <a:pt x="5189" y="3378"/>
                </a:moveTo>
                <a:lnTo>
                  <a:pt x="5275" y="3378"/>
                </a:lnTo>
                <a:lnTo>
                  <a:pt x="5275" y="3464"/>
                </a:lnTo>
                <a:lnTo>
                  <a:pt x="5238" y="3464"/>
                </a:lnTo>
                <a:lnTo>
                  <a:pt x="5238" y="3427"/>
                </a:lnTo>
                <a:lnTo>
                  <a:pt x="5201" y="3427"/>
                </a:lnTo>
                <a:lnTo>
                  <a:pt x="5201" y="3464"/>
                </a:lnTo>
                <a:lnTo>
                  <a:pt x="5189" y="3464"/>
                </a:lnTo>
                <a:lnTo>
                  <a:pt x="5189" y="3378"/>
                </a:lnTo>
                <a:close/>
                <a:moveTo>
                  <a:pt x="5189" y="3500"/>
                </a:moveTo>
                <a:lnTo>
                  <a:pt x="5201" y="3500"/>
                </a:lnTo>
                <a:lnTo>
                  <a:pt x="5201" y="3525"/>
                </a:lnTo>
                <a:lnTo>
                  <a:pt x="5189" y="3525"/>
                </a:lnTo>
                <a:lnTo>
                  <a:pt x="5189" y="3500"/>
                </a:lnTo>
                <a:close/>
                <a:moveTo>
                  <a:pt x="5189" y="3549"/>
                </a:moveTo>
                <a:lnTo>
                  <a:pt x="5201" y="3549"/>
                </a:lnTo>
                <a:lnTo>
                  <a:pt x="5201" y="3549"/>
                </a:lnTo>
                <a:lnTo>
                  <a:pt x="5189" y="3549"/>
                </a:lnTo>
                <a:lnTo>
                  <a:pt x="5189" y="3549"/>
                </a:lnTo>
                <a:close/>
                <a:moveTo>
                  <a:pt x="5189" y="3586"/>
                </a:moveTo>
                <a:lnTo>
                  <a:pt x="5201" y="3586"/>
                </a:lnTo>
                <a:lnTo>
                  <a:pt x="5201" y="3659"/>
                </a:lnTo>
                <a:lnTo>
                  <a:pt x="5189" y="3659"/>
                </a:lnTo>
                <a:lnTo>
                  <a:pt x="5189" y="3586"/>
                </a:lnTo>
                <a:close/>
                <a:moveTo>
                  <a:pt x="5189" y="3708"/>
                </a:moveTo>
                <a:lnTo>
                  <a:pt x="5201" y="3708"/>
                </a:lnTo>
                <a:lnTo>
                  <a:pt x="5201" y="3745"/>
                </a:lnTo>
                <a:lnTo>
                  <a:pt x="5189" y="3745"/>
                </a:lnTo>
                <a:lnTo>
                  <a:pt x="5189" y="3708"/>
                </a:lnTo>
                <a:close/>
                <a:moveTo>
                  <a:pt x="5201" y="3782"/>
                </a:moveTo>
                <a:lnTo>
                  <a:pt x="5201" y="3818"/>
                </a:lnTo>
                <a:lnTo>
                  <a:pt x="5189" y="3818"/>
                </a:lnTo>
                <a:lnTo>
                  <a:pt x="5189" y="3782"/>
                </a:lnTo>
                <a:lnTo>
                  <a:pt x="5201" y="3782"/>
                </a:lnTo>
                <a:close/>
                <a:moveTo>
                  <a:pt x="5153" y="3207"/>
                </a:moveTo>
                <a:lnTo>
                  <a:pt x="5153" y="3341"/>
                </a:lnTo>
                <a:lnTo>
                  <a:pt x="4969" y="3341"/>
                </a:lnTo>
                <a:lnTo>
                  <a:pt x="4969" y="3207"/>
                </a:lnTo>
                <a:lnTo>
                  <a:pt x="5153" y="3207"/>
                </a:lnTo>
                <a:close/>
                <a:moveTo>
                  <a:pt x="4969" y="3182"/>
                </a:moveTo>
                <a:lnTo>
                  <a:pt x="4969" y="3047"/>
                </a:lnTo>
                <a:lnTo>
                  <a:pt x="5153" y="3047"/>
                </a:lnTo>
                <a:lnTo>
                  <a:pt x="5153" y="3182"/>
                </a:lnTo>
                <a:lnTo>
                  <a:pt x="4969" y="3182"/>
                </a:lnTo>
                <a:close/>
                <a:moveTo>
                  <a:pt x="5153" y="3378"/>
                </a:moveTo>
                <a:lnTo>
                  <a:pt x="5153" y="3464"/>
                </a:lnTo>
                <a:lnTo>
                  <a:pt x="5067" y="3464"/>
                </a:lnTo>
                <a:lnTo>
                  <a:pt x="5067" y="3451"/>
                </a:lnTo>
                <a:lnTo>
                  <a:pt x="5030" y="3451"/>
                </a:lnTo>
                <a:lnTo>
                  <a:pt x="5030" y="3464"/>
                </a:lnTo>
                <a:lnTo>
                  <a:pt x="4969" y="3464"/>
                </a:lnTo>
                <a:lnTo>
                  <a:pt x="4969" y="3378"/>
                </a:lnTo>
                <a:lnTo>
                  <a:pt x="5153" y="3378"/>
                </a:lnTo>
                <a:close/>
                <a:moveTo>
                  <a:pt x="5067" y="3659"/>
                </a:moveTo>
                <a:lnTo>
                  <a:pt x="5067" y="3586"/>
                </a:lnTo>
                <a:lnTo>
                  <a:pt x="5153" y="3586"/>
                </a:lnTo>
                <a:lnTo>
                  <a:pt x="5153" y="3659"/>
                </a:lnTo>
                <a:lnTo>
                  <a:pt x="5067" y="3659"/>
                </a:lnTo>
                <a:close/>
                <a:moveTo>
                  <a:pt x="5153" y="3708"/>
                </a:moveTo>
                <a:lnTo>
                  <a:pt x="5153" y="3745"/>
                </a:lnTo>
                <a:lnTo>
                  <a:pt x="5067" y="3745"/>
                </a:lnTo>
                <a:lnTo>
                  <a:pt x="5067" y="3708"/>
                </a:lnTo>
                <a:lnTo>
                  <a:pt x="5153" y="3708"/>
                </a:lnTo>
                <a:close/>
                <a:moveTo>
                  <a:pt x="5067" y="3549"/>
                </a:moveTo>
                <a:lnTo>
                  <a:pt x="5067" y="3549"/>
                </a:lnTo>
                <a:lnTo>
                  <a:pt x="5153" y="3549"/>
                </a:lnTo>
                <a:lnTo>
                  <a:pt x="5153" y="3549"/>
                </a:lnTo>
                <a:lnTo>
                  <a:pt x="5067" y="3549"/>
                </a:lnTo>
                <a:close/>
                <a:moveTo>
                  <a:pt x="5067" y="3525"/>
                </a:moveTo>
                <a:lnTo>
                  <a:pt x="5067" y="3500"/>
                </a:lnTo>
                <a:lnTo>
                  <a:pt x="5153" y="3500"/>
                </a:lnTo>
                <a:lnTo>
                  <a:pt x="5153" y="3525"/>
                </a:lnTo>
                <a:lnTo>
                  <a:pt x="5067" y="3525"/>
                </a:lnTo>
                <a:close/>
                <a:moveTo>
                  <a:pt x="5030" y="3500"/>
                </a:moveTo>
                <a:lnTo>
                  <a:pt x="5030" y="3525"/>
                </a:lnTo>
                <a:lnTo>
                  <a:pt x="4969" y="3525"/>
                </a:lnTo>
                <a:lnTo>
                  <a:pt x="4969" y="3500"/>
                </a:lnTo>
                <a:lnTo>
                  <a:pt x="5030" y="3500"/>
                </a:lnTo>
                <a:close/>
                <a:moveTo>
                  <a:pt x="5030" y="3549"/>
                </a:moveTo>
                <a:lnTo>
                  <a:pt x="5030" y="3549"/>
                </a:lnTo>
                <a:lnTo>
                  <a:pt x="4969" y="3549"/>
                </a:lnTo>
                <a:lnTo>
                  <a:pt x="4969" y="3549"/>
                </a:lnTo>
                <a:lnTo>
                  <a:pt x="5030" y="3549"/>
                </a:lnTo>
                <a:close/>
                <a:moveTo>
                  <a:pt x="5030" y="3586"/>
                </a:moveTo>
                <a:lnTo>
                  <a:pt x="5030" y="3659"/>
                </a:lnTo>
                <a:lnTo>
                  <a:pt x="4969" y="3659"/>
                </a:lnTo>
                <a:lnTo>
                  <a:pt x="4969" y="3586"/>
                </a:lnTo>
                <a:lnTo>
                  <a:pt x="5030" y="3586"/>
                </a:lnTo>
                <a:close/>
                <a:moveTo>
                  <a:pt x="5030" y="3708"/>
                </a:moveTo>
                <a:lnTo>
                  <a:pt x="5030" y="3745"/>
                </a:lnTo>
                <a:lnTo>
                  <a:pt x="4969" y="3745"/>
                </a:lnTo>
                <a:lnTo>
                  <a:pt x="4969" y="3708"/>
                </a:lnTo>
                <a:lnTo>
                  <a:pt x="5030" y="3708"/>
                </a:lnTo>
                <a:close/>
                <a:moveTo>
                  <a:pt x="5030" y="3782"/>
                </a:moveTo>
                <a:lnTo>
                  <a:pt x="5030" y="3818"/>
                </a:lnTo>
                <a:lnTo>
                  <a:pt x="4969" y="3818"/>
                </a:lnTo>
                <a:lnTo>
                  <a:pt x="4969" y="3782"/>
                </a:lnTo>
                <a:lnTo>
                  <a:pt x="5030" y="3782"/>
                </a:lnTo>
                <a:close/>
                <a:moveTo>
                  <a:pt x="5067" y="3782"/>
                </a:moveTo>
                <a:lnTo>
                  <a:pt x="5153" y="3782"/>
                </a:lnTo>
                <a:lnTo>
                  <a:pt x="5153" y="3818"/>
                </a:lnTo>
                <a:lnTo>
                  <a:pt x="5067" y="3818"/>
                </a:lnTo>
                <a:lnTo>
                  <a:pt x="5067" y="3782"/>
                </a:lnTo>
                <a:close/>
                <a:moveTo>
                  <a:pt x="4957" y="1750"/>
                </a:moveTo>
                <a:lnTo>
                  <a:pt x="5128" y="1750"/>
                </a:lnTo>
                <a:lnTo>
                  <a:pt x="5128" y="1885"/>
                </a:lnTo>
                <a:lnTo>
                  <a:pt x="4957" y="1885"/>
                </a:lnTo>
                <a:lnTo>
                  <a:pt x="4957" y="1750"/>
                </a:lnTo>
                <a:close/>
                <a:moveTo>
                  <a:pt x="4957" y="1909"/>
                </a:moveTo>
                <a:lnTo>
                  <a:pt x="5128" y="1909"/>
                </a:lnTo>
                <a:lnTo>
                  <a:pt x="5128" y="2044"/>
                </a:lnTo>
                <a:lnTo>
                  <a:pt x="4957" y="2044"/>
                </a:lnTo>
                <a:lnTo>
                  <a:pt x="4957" y="1909"/>
                </a:lnTo>
                <a:close/>
                <a:moveTo>
                  <a:pt x="4957" y="2081"/>
                </a:moveTo>
                <a:lnTo>
                  <a:pt x="5128" y="2081"/>
                </a:lnTo>
                <a:lnTo>
                  <a:pt x="5128" y="2203"/>
                </a:lnTo>
                <a:lnTo>
                  <a:pt x="4957" y="2203"/>
                </a:lnTo>
                <a:lnTo>
                  <a:pt x="4957" y="2081"/>
                </a:lnTo>
                <a:close/>
                <a:moveTo>
                  <a:pt x="4957" y="2240"/>
                </a:moveTo>
                <a:lnTo>
                  <a:pt x="5128" y="2240"/>
                </a:lnTo>
                <a:lnTo>
                  <a:pt x="5128" y="2350"/>
                </a:lnTo>
                <a:lnTo>
                  <a:pt x="4957" y="2350"/>
                </a:lnTo>
                <a:lnTo>
                  <a:pt x="4957" y="2240"/>
                </a:lnTo>
                <a:close/>
                <a:moveTo>
                  <a:pt x="4957" y="2374"/>
                </a:moveTo>
                <a:lnTo>
                  <a:pt x="5128" y="2374"/>
                </a:lnTo>
                <a:lnTo>
                  <a:pt x="5128" y="2509"/>
                </a:lnTo>
                <a:lnTo>
                  <a:pt x="4957" y="2509"/>
                </a:lnTo>
                <a:lnTo>
                  <a:pt x="4957" y="2374"/>
                </a:lnTo>
                <a:close/>
                <a:moveTo>
                  <a:pt x="4957" y="2546"/>
                </a:moveTo>
                <a:lnTo>
                  <a:pt x="5128" y="2546"/>
                </a:lnTo>
                <a:lnTo>
                  <a:pt x="5128" y="2680"/>
                </a:lnTo>
                <a:lnTo>
                  <a:pt x="4957" y="2680"/>
                </a:lnTo>
                <a:lnTo>
                  <a:pt x="4957" y="2546"/>
                </a:lnTo>
                <a:close/>
                <a:moveTo>
                  <a:pt x="4957" y="2705"/>
                </a:moveTo>
                <a:lnTo>
                  <a:pt x="5128" y="2705"/>
                </a:lnTo>
                <a:lnTo>
                  <a:pt x="5128" y="2839"/>
                </a:lnTo>
                <a:lnTo>
                  <a:pt x="4957" y="2839"/>
                </a:lnTo>
                <a:lnTo>
                  <a:pt x="4957" y="2705"/>
                </a:lnTo>
                <a:close/>
                <a:moveTo>
                  <a:pt x="4957" y="2876"/>
                </a:moveTo>
                <a:lnTo>
                  <a:pt x="5128" y="2876"/>
                </a:lnTo>
                <a:lnTo>
                  <a:pt x="5128" y="3023"/>
                </a:lnTo>
                <a:lnTo>
                  <a:pt x="5153" y="3023"/>
                </a:lnTo>
                <a:lnTo>
                  <a:pt x="5153" y="3023"/>
                </a:lnTo>
                <a:lnTo>
                  <a:pt x="4969" y="3023"/>
                </a:lnTo>
                <a:lnTo>
                  <a:pt x="4969" y="2901"/>
                </a:lnTo>
                <a:lnTo>
                  <a:pt x="4957" y="2901"/>
                </a:lnTo>
                <a:lnTo>
                  <a:pt x="4957" y="2876"/>
                </a:lnTo>
                <a:close/>
                <a:moveTo>
                  <a:pt x="4847" y="1750"/>
                </a:moveTo>
                <a:lnTo>
                  <a:pt x="4932" y="1750"/>
                </a:lnTo>
                <a:lnTo>
                  <a:pt x="4932" y="1885"/>
                </a:lnTo>
                <a:lnTo>
                  <a:pt x="4847" y="1885"/>
                </a:lnTo>
                <a:lnTo>
                  <a:pt x="4847" y="1750"/>
                </a:lnTo>
                <a:close/>
                <a:moveTo>
                  <a:pt x="4847" y="1909"/>
                </a:moveTo>
                <a:lnTo>
                  <a:pt x="4932" y="1909"/>
                </a:lnTo>
                <a:lnTo>
                  <a:pt x="4932" y="2044"/>
                </a:lnTo>
                <a:lnTo>
                  <a:pt x="4847" y="2044"/>
                </a:lnTo>
                <a:lnTo>
                  <a:pt x="4847" y="1909"/>
                </a:lnTo>
                <a:close/>
                <a:moveTo>
                  <a:pt x="4847" y="2081"/>
                </a:moveTo>
                <a:lnTo>
                  <a:pt x="4932" y="2081"/>
                </a:lnTo>
                <a:lnTo>
                  <a:pt x="4932" y="2203"/>
                </a:lnTo>
                <a:lnTo>
                  <a:pt x="4847" y="2203"/>
                </a:lnTo>
                <a:lnTo>
                  <a:pt x="4847" y="2081"/>
                </a:lnTo>
                <a:close/>
                <a:moveTo>
                  <a:pt x="4847" y="2240"/>
                </a:moveTo>
                <a:lnTo>
                  <a:pt x="4932" y="2240"/>
                </a:lnTo>
                <a:lnTo>
                  <a:pt x="4932" y="2350"/>
                </a:lnTo>
                <a:lnTo>
                  <a:pt x="4847" y="2350"/>
                </a:lnTo>
                <a:lnTo>
                  <a:pt x="4847" y="2240"/>
                </a:lnTo>
                <a:close/>
                <a:moveTo>
                  <a:pt x="4847" y="2374"/>
                </a:moveTo>
                <a:lnTo>
                  <a:pt x="4932" y="2374"/>
                </a:lnTo>
                <a:lnTo>
                  <a:pt x="4932" y="2509"/>
                </a:lnTo>
                <a:lnTo>
                  <a:pt x="4847" y="2509"/>
                </a:lnTo>
                <a:lnTo>
                  <a:pt x="4847" y="2374"/>
                </a:lnTo>
                <a:close/>
                <a:moveTo>
                  <a:pt x="4847" y="2546"/>
                </a:moveTo>
                <a:lnTo>
                  <a:pt x="4932" y="2546"/>
                </a:lnTo>
                <a:lnTo>
                  <a:pt x="4932" y="2680"/>
                </a:lnTo>
                <a:lnTo>
                  <a:pt x="4847" y="2680"/>
                </a:lnTo>
                <a:lnTo>
                  <a:pt x="4847" y="2546"/>
                </a:lnTo>
                <a:close/>
                <a:moveTo>
                  <a:pt x="4847" y="2705"/>
                </a:moveTo>
                <a:lnTo>
                  <a:pt x="4932" y="2705"/>
                </a:lnTo>
                <a:lnTo>
                  <a:pt x="4932" y="2839"/>
                </a:lnTo>
                <a:lnTo>
                  <a:pt x="4847" y="2839"/>
                </a:lnTo>
                <a:lnTo>
                  <a:pt x="4847" y="2705"/>
                </a:lnTo>
                <a:close/>
                <a:moveTo>
                  <a:pt x="4847" y="3023"/>
                </a:moveTo>
                <a:lnTo>
                  <a:pt x="4847" y="3023"/>
                </a:lnTo>
                <a:lnTo>
                  <a:pt x="4847" y="2876"/>
                </a:lnTo>
                <a:lnTo>
                  <a:pt x="4932" y="2876"/>
                </a:lnTo>
                <a:lnTo>
                  <a:pt x="4932" y="3023"/>
                </a:lnTo>
                <a:lnTo>
                  <a:pt x="4932" y="3023"/>
                </a:lnTo>
                <a:lnTo>
                  <a:pt x="4932" y="3023"/>
                </a:lnTo>
                <a:lnTo>
                  <a:pt x="4847" y="3023"/>
                </a:lnTo>
                <a:lnTo>
                  <a:pt x="4847" y="3023"/>
                </a:lnTo>
                <a:close/>
                <a:moveTo>
                  <a:pt x="4847" y="3047"/>
                </a:moveTo>
                <a:lnTo>
                  <a:pt x="4932" y="3047"/>
                </a:lnTo>
                <a:lnTo>
                  <a:pt x="4932" y="3182"/>
                </a:lnTo>
                <a:lnTo>
                  <a:pt x="4847" y="3182"/>
                </a:lnTo>
                <a:lnTo>
                  <a:pt x="4847" y="3047"/>
                </a:lnTo>
                <a:close/>
                <a:moveTo>
                  <a:pt x="4847" y="3207"/>
                </a:moveTo>
                <a:lnTo>
                  <a:pt x="4932" y="3207"/>
                </a:lnTo>
                <a:lnTo>
                  <a:pt x="4932" y="3341"/>
                </a:lnTo>
                <a:lnTo>
                  <a:pt x="4847" y="3341"/>
                </a:lnTo>
                <a:lnTo>
                  <a:pt x="4847" y="3207"/>
                </a:lnTo>
                <a:close/>
                <a:moveTo>
                  <a:pt x="4847" y="3378"/>
                </a:moveTo>
                <a:lnTo>
                  <a:pt x="4932" y="3378"/>
                </a:lnTo>
                <a:lnTo>
                  <a:pt x="4932" y="3464"/>
                </a:lnTo>
                <a:lnTo>
                  <a:pt x="4847" y="3464"/>
                </a:lnTo>
                <a:lnTo>
                  <a:pt x="4847" y="3378"/>
                </a:lnTo>
                <a:close/>
                <a:moveTo>
                  <a:pt x="4847" y="3500"/>
                </a:moveTo>
                <a:lnTo>
                  <a:pt x="4932" y="3500"/>
                </a:lnTo>
                <a:lnTo>
                  <a:pt x="4932" y="3525"/>
                </a:lnTo>
                <a:lnTo>
                  <a:pt x="4847" y="3525"/>
                </a:lnTo>
                <a:lnTo>
                  <a:pt x="4847" y="3500"/>
                </a:lnTo>
                <a:close/>
                <a:moveTo>
                  <a:pt x="4847" y="3549"/>
                </a:moveTo>
                <a:lnTo>
                  <a:pt x="4932" y="3549"/>
                </a:lnTo>
                <a:lnTo>
                  <a:pt x="4932" y="3549"/>
                </a:lnTo>
                <a:lnTo>
                  <a:pt x="4847" y="3549"/>
                </a:lnTo>
                <a:lnTo>
                  <a:pt x="4847" y="3549"/>
                </a:lnTo>
                <a:close/>
                <a:moveTo>
                  <a:pt x="4847" y="3586"/>
                </a:moveTo>
                <a:lnTo>
                  <a:pt x="4932" y="3586"/>
                </a:lnTo>
                <a:lnTo>
                  <a:pt x="4932" y="3659"/>
                </a:lnTo>
                <a:lnTo>
                  <a:pt x="4847" y="3659"/>
                </a:lnTo>
                <a:lnTo>
                  <a:pt x="4847" y="3586"/>
                </a:lnTo>
                <a:close/>
                <a:moveTo>
                  <a:pt x="4847" y="3708"/>
                </a:moveTo>
                <a:lnTo>
                  <a:pt x="4932" y="3708"/>
                </a:lnTo>
                <a:lnTo>
                  <a:pt x="4932" y="3745"/>
                </a:lnTo>
                <a:lnTo>
                  <a:pt x="4847" y="3745"/>
                </a:lnTo>
                <a:lnTo>
                  <a:pt x="4847" y="3708"/>
                </a:lnTo>
                <a:close/>
                <a:moveTo>
                  <a:pt x="4932" y="3782"/>
                </a:moveTo>
                <a:lnTo>
                  <a:pt x="4932" y="3818"/>
                </a:lnTo>
                <a:lnTo>
                  <a:pt x="4847" y="3818"/>
                </a:lnTo>
                <a:lnTo>
                  <a:pt x="4847" y="3782"/>
                </a:lnTo>
                <a:lnTo>
                  <a:pt x="4932" y="3782"/>
                </a:lnTo>
                <a:close/>
                <a:moveTo>
                  <a:pt x="4810" y="3549"/>
                </a:moveTo>
                <a:lnTo>
                  <a:pt x="4810" y="3549"/>
                </a:lnTo>
                <a:lnTo>
                  <a:pt x="4749" y="3549"/>
                </a:lnTo>
                <a:lnTo>
                  <a:pt x="4749" y="3549"/>
                </a:lnTo>
                <a:lnTo>
                  <a:pt x="4810" y="3549"/>
                </a:lnTo>
                <a:close/>
                <a:moveTo>
                  <a:pt x="4749" y="3525"/>
                </a:moveTo>
                <a:lnTo>
                  <a:pt x="4749" y="3500"/>
                </a:lnTo>
                <a:lnTo>
                  <a:pt x="4810" y="3500"/>
                </a:lnTo>
                <a:lnTo>
                  <a:pt x="4810" y="3525"/>
                </a:lnTo>
                <a:lnTo>
                  <a:pt x="4749" y="3525"/>
                </a:lnTo>
                <a:close/>
                <a:moveTo>
                  <a:pt x="4810" y="3586"/>
                </a:moveTo>
                <a:lnTo>
                  <a:pt x="4810" y="3659"/>
                </a:lnTo>
                <a:lnTo>
                  <a:pt x="4749" y="3659"/>
                </a:lnTo>
                <a:lnTo>
                  <a:pt x="4749" y="3586"/>
                </a:lnTo>
                <a:lnTo>
                  <a:pt x="4810" y="3586"/>
                </a:lnTo>
                <a:close/>
                <a:moveTo>
                  <a:pt x="4810" y="3708"/>
                </a:moveTo>
                <a:lnTo>
                  <a:pt x="4810" y="3745"/>
                </a:lnTo>
                <a:lnTo>
                  <a:pt x="4749" y="3745"/>
                </a:lnTo>
                <a:lnTo>
                  <a:pt x="4749" y="3708"/>
                </a:lnTo>
                <a:lnTo>
                  <a:pt x="4810" y="3708"/>
                </a:lnTo>
                <a:close/>
                <a:moveTo>
                  <a:pt x="4810" y="3782"/>
                </a:moveTo>
                <a:lnTo>
                  <a:pt x="4810" y="3818"/>
                </a:lnTo>
                <a:lnTo>
                  <a:pt x="4749" y="3818"/>
                </a:lnTo>
                <a:lnTo>
                  <a:pt x="4749" y="3782"/>
                </a:lnTo>
                <a:lnTo>
                  <a:pt x="4810" y="3782"/>
                </a:lnTo>
                <a:close/>
                <a:moveTo>
                  <a:pt x="4638" y="1750"/>
                </a:moveTo>
                <a:lnTo>
                  <a:pt x="4810" y="1750"/>
                </a:lnTo>
                <a:lnTo>
                  <a:pt x="4810" y="1885"/>
                </a:lnTo>
                <a:lnTo>
                  <a:pt x="4638" y="1885"/>
                </a:lnTo>
                <a:lnTo>
                  <a:pt x="4638" y="1750"/>
                </a:lnTo>
                <a:close/>
                <a:moveTo>
                  <a:pt x="4638" y="1909"/>
                </a:moveTo>
                <a:lnTo>
                  <a:pt x="4810" y="1909"/>
                </a:lnTo>
                <a:lnTo>
                  <a:pt x="4810" y="2044"/>
                </a:lnTo>
                <a:lnTo>
                  <a:pt x="4638" y="2044"/>
                </a:lnTo>
                <a:lnTo>
                  <a:pt x="4638" y="1909"/>
                </a:lnTo>
                <a:close/>
                <a:moveTo>
                  <a:pt x="4638" y="2081"/>
                </a:moveTo>
                <a:lnTo>
                  <a:pt x="4810" y="2081"/>
                </a:lnTo>
                <a:lnTo>
                  <a:pt x="4810" y="2203"/>
                </a:lnTo>
                <a:lnTo>
                  <a:pt x="4638" y="2203"/>
                </a:lnTo>
                <a:lnTo>
                  <a:pt x="4638" y="2081"/>
                </a:lnTo>
                <a:close/>
                <a:moveTo>
                  <a:pt x="4638" y="2240"/>
                </a:moveTo>
                <a:lnTo>
                  <a:pt x="4810" y="2240"/>
                </a:lnTo>
                <a:lnTo>
                  <a:pt x="4810" y="2350"/>
                </a:lnTo>
                <a:lnTo>
                  <a:pt x="4638" y="2350"/>
                </a:lnTo>
                <a:lnTo>
                  <a:pt x="4638" y="2240"/>
                </a:lnTo>
                <a:close/>
                <a:moveTo>
                  <a:pt x="4638" y="2374"/>
                </a:moveTo>
                <a:lnTo>
                  <a:pt x="4810" y="2374"/>
                </a:lnTo>
                <a:lnTo>
                  <a:pt x="4810" y="2509"/>
                </a:lnTo>
                <a:lnTo>
                  <a:pt x="4638" y="2509"/>
                </a:lnTo>
                <a:lnTo>
                  <a:pt x="4638" y="2374"/>
                </a:lnTo>
                <a:close/>
                <a:moveTo>
                  <a:pt x="4638" y="2546"/>
                </a:moveTo>
                <a:lnTo>
                  <a:pt x="4810" y="2546"/>
                </a:lnTo>
                <a:lnTo>
                  <a:pt x="4810" y="2680"/>
                </a:lnTo>
                <a:lnTo>
                  <a:pt x="4638" y="2680"/>
                </a:lnTo>
                <a:lnTo>
                  <a:pt x="4638" y="2546"/>
                </a:lnTo>
                <a:close/>
                <a:moveTo>
                  <a:pt x="4638" y="2705"/>
                </a:moveTo>
                <a:lnTo>
                  <a:pt x="4810" y="2705"/>
                </a:lnTo>
                <a:lnTo>
                  <a:pt x="4810" y="2839"/>
                </a:lnTo>
                <a:lnTo>
                  <a:pt x="4638" y="2839"/>
                </a:lnTo>
                <a:lnTo>
                  <a:pt x="4638" y="2705"/>
                </a:lnTo>
                <a:close/>
                <a:moveTo>
                  <a:pt x="4626" y="3023"/>
                </a:moveTo>
                <a:lnTo>
                  <a:pt x="4638" y="3023"/>
                </a:lnTo>
                <a:lnTo>
                  <a:pt x="4638" y="2876"/>
                </a:lnTo>
                <a:lnTo>
                  <a:pt x="4810" y="2876"/>
                </a:lnTo>
                <a:lnTo>
                  <a:pt x="4810" y="2962"/>
                </a:lnTo>
                <a:lnTo>
                  <a:pt x="4810" y="2962"/>
                </a:lnTo>
                <a:lnTo>
                  <a:pt x="4810" y="3023"/>
                </a:lnTo>
                <a:lnTo>
                  <a:pt x="4626" y="3023"/>
                </a:lnTo>
                <a:lnTo>
                  <a:pt x="4626" y="3023"/>
                </a:lnTo>
                <a:close/>
                <a:moveTo>
                  <a:pt x="4626" y="3047"/>
                </a:moveTo>
                <a:lnTo>
                  <a:pt x="4810" y="3047"/>
                </a:lnTo>
                <a:lnTo>
                  <a:pt x="4810" y="3182"/>
                </a:lnTo>
                <a:lnTo>
                  <a:pt x="4626" y="3182"/>
                </a:lnTo>
                <a:lnTo>
                  <a:pt x="4626" y="3047"/>
                </a:lnTo>
                <a:close/>
                <a:moveTo>
                  <a:pt x="4626" y="3207"/>
                </a:moveTo>
                <a:lnTo>
                  <a:pt x="4810" y="3207"/>
                </a:lnTo>
                <a:lnTo>
                  <a:pt x="4810" y="3341"/>
                </a:lnTo>
                <a:lnTo>
                  <a:pt x="4626" y="3341"/>
                </a:lnTo>
                <a:lnTo>
                  <a:pt x="4626" y="3207"/>
                </a:lnTo>
                <a:close/>
                <a:moveTo>
                  <a:pt x="4626" y="3378"/>
                </a:moveTo>
                <a:lnTo>
                  <a:pt x="4810" y="3378"/>
                </a:lnTo>
                <a:lnTo>
                  <a:pt x="4810" y="3464"/>
                </a:lnTo>
                <a:lnTo>
                  <a:pt x="4749" y="3464"/>
                </a:lnTo>
                <a:lnTo>
                  <a:pt x="4749" y="3427"/>
                </a:lnTo>
                <a:lnTo>
                  <a:pt x="4712" y="3427"/>
                </a:lnTo>
                <a:lnTo>
                  <a:pt x="4712" y="3464"/>
                </a:lnTo>
                <a:lnTo>
                  <a:pt x="4626" y="3464"/>
                </a:lnTo>
                <a:lnTo>
                  <a:pt x="4626" y="3378"/>
                </a:lnTo>
                <a:close/>
                <a:moveTo>
                  <a:pt x="4626" y="3500"/>
                </a:moveTo>
                <a:lnTo>
                  <a:pt x="4712" y="3500"/>
                </a:lnTo>
                <a:lnTo>
                  <a:pt x="4712" y="3525"/>
                </a:lnTo>
                <a:lnTo>
                  <a:pt x="4626" y="3525"/>
                </a:lnTo>
                <a:lnTo>
                  <a:pt x="4626" y="3500"/>
                </a:lnTo>
                <a:close/>
                <a:moveTo>
                  <a:pt x="4626" y="3549"/>
                </a:moveTo>
                <a:lnTo>
                  <a:pt x="4712" y="3549"/>
                </a:lnTo>
                <a:lnTo>
                  <a:pt x="4712" y="3549"/>
                </a:lnTo>
                <a:lnTo>
                  <a:pt x="4626" y="3549"/>
                </a:lnTo>
                <a:lnTo>
                  <a:pt x="4626" y="3549"/>
                </a:lnTo>
                <a:close/>
                <a:moveTo>
                  <a:pt x="4626" y="3586"/>
                </a:moveTo>
                <a:lnTo>
                  <a:pt x="4712" y="3586"/>
                </a:lnTo>
                <a:lnTo>
                  <a:pt x="4712" y="3659"/>
                </a:lnTo>
                <a:lnTo>
                  <a:pt x="4626" y="3659"/>
                </a:lnTo>
                <a:lnTo>
                  <a:pt x="4626" y="3586"/>
                </a:lnTo>
                <a:close/>
                <a:moveTo>
                  <a:pt x="4626" y="3708"/>
                </a:moveTo>
                <a:lnTo>
                  <a:pt x="4712" y="3708"/>
                </a:lnTo>
                <a:lnTo>
                  <a:pt x="4712" y="3745"/>
                </a:lnTo>
                <a:lnTo>
                  <a:pt x="4626" y="3745"/>
                </a:lnTo>
                <a:lnTo>
                  <a:pt x="4626" y="3708"/>
                </a:lnTo>
                <a:close/>
                <a:moveTo>
                  <a:pt x="4712" y="3782"/>
                </a:moveTo>
                <a:lnTo>
                  <a:pt x="4712" y="3818"/>
                </a:lnTo>
                <a:lnTo>
                  <a:pt x="4626" y="3818"/>
                </a:lnTo>
                <a:lnTo>
                  <a:pt x="4626" y="3782"/>
                </a:lnTo>
                <a:lnTo>
                  <a:pt x="4712" y="3782"/>
                </a:lnTo>
                <a:close/>
                <a:moveTo>
                  <a:pt x="4590" y="3586"/>
                </a:moveTo>
                <a:lnTo>
                  <a:pt x="4590" y="3659"/>
                </a:lnTo>
                <a:lnTo>
                  <a:pt x="4565" y="3659"/>
                </a:lnTo>
                <a:lnTo>
                  <a:pt x="4565" y="3586"/>
                </a:lnTo>
                <a:lnTo>
                  <a:pt x="4590" y="3586"/>
                </a:lnTo>
                <a:close/>
                <a:moveTo>
                  <a:pt x="4565" y="3549"/>
                </a:moveTo>
                <a:lnTo>
                  <a:pt x="4565" y="3549"/>
                </a:lnTo>
                <a:lnTo>
                  <a:pt x="4590" y="3549"/>
                </a:lnTo>
                <a:lnTo>
                  <a:pt x="4590" y="3549"/>
                </a:lnTo>
                <a:lnTo>
                  <a:pt x="4565" y="3549"/>
                </a:lnTo>
                <a:close/>
                <a:moveTo>
                  <a:pt x="4590" y="3708"/>
                </a:moveTo>
                <a:lnTo>
                  <a:pt x="4590" y="3745"/>
                </a:lnTo>
                <a:lnTo>
                  <a:pt x="4565" y="3745"/>
                </a:lnTo>
                <a:lnTo>
                  <a:pt x="4565" y="3708"/>
                </a:lnTo>
                <a:lnTo>
                  <a:pt x="4590" y="3708"/>
                </a:lnTo>
                <a:close/>
                <a:moveTo>
                  <a:pt x="4590" y="3782"/>
                </a:moveTo>
                <a:lnTo>
                  <a:pt x="4590" y="3818"/>
                </a:lnTo>
                <a:lnTo>
                  <a:pt x="4565" y="3818"/>
                </a:lnTo>
                <a:lnTo>
                  <a:pt x="4565" y="3782"/>
                </a:lnTo>
                <a:lnTo>
                  <a:pt x="4590" y="3782"/>
                </a:lnTo>
                <a:close/>
                <a:moveTo>
                  <a:pt x="4528" y="1750"/>
                </a:moveTo>
                <a:lnTo>
                  <a:pt x="4614" y="1750"/>
                </a:lnTo>
                <a:lnTo>
                  <a:pt x="4614" y="1885"/>
                </a:lnTo>
                <a:lnTo>
                  <a:pt x="4528" y="1885"/>
                </a:lnTo>
                <a:lnTo>
                  <a:pt x="4528" y="1750"/>
                </a:lnTo>
                <a:close/>
                <a:moveTo>
                  <a:pt x="4528" y="1909"/>
                </a:moveTo>
                <a:lnTo>
                  <a:pt x="4614" y="1909"/>
                </a:lnTo>
                <a:lnTo>
                  <a:pt x="4614" y="2044"/>
                </a:lnTo>
                <a:lnTo>
                  <a:pt x="4528" y="2044"/>
                </a:lnTo>
                <a:lnTo>
                  <a:pt x="4528" y="1909"/>
                </a:lnTo>
                <a:close/>
                <a:moveTo>
                  <a:pt x="4528" y="2081"/>
                </a:moveTo>
                <a:lnTo>
                  <a:pt x="4614" y="2081"/>
                </a:lnTo>
                <a:lnTo>
                  <a:pt x="4614" y="2203"/>
                </a:lnTo>
                <a:lnTo>
                  <a:pt x="4528" y="2203"/>
                </a:lnTo>
                <a:lnTo>
                  <a:pt x="4528" y="2081"/>
                </a:lnTo>
                <a:close/>
                <a:moveTo>
                  <a:pt x="4528" y="2240"/>
                </a:moveTo>
                <a:lnTo>
                  <a:pt x="4614" y="2240"/>
                </a:lnTo>
                <a:lnTo>
                  <a:pt x="4614" y="2350"/>
                </a:lnTo>
                <a:lnTo>
                  <a:pt x="4528" y="2350"/>
                </a:lnTo>
                <a:lnTo>
                  <a:pt x="4528" y="2240"/>
                </a:lnTo>
                <a:close/>
                <a:moveTo>
                  <a:pt x="4528" y="2374"/>
                </a:moveTo>
                <a:lnTo>
                  <a:pt x="4614" y="2374"/>
                </a:lnTo>
                <a:lnTo>
                  <a:pt x="4614" y="2509"/>
                </a:lnTo>
                <a:lnTo>
                  <a:pt x="4528" y="2509"/>
                </a:lnTo>
                <a:lnTo>
                  <a:pt x="4528" y="2374"/>
                </a:lnTo>
                <a:close/>
                <a:moveTo>
                  <a:pt x="4528" y="2546"/>
                </a:moveTo>
                <a:lnTo>
                  <a:pt x="4614" y="2546"/>
                </a:lnTo>
                <a:lnTo>
                  <a:pt x="4614" y="2680"/>
                </a:lnTo>
                <a:lnTo>
                  <a:pt x="4528" y="2680"/>
                </a:lnTo>
                <a:lnTo>
                  <a:pt x="4528" y="2546"/>
                </a:lnTo>
                <a:close/>
                <a:moveTo>
                  <a:pt x="4528" y="2839"/>
                </a:moveTo>
                <a:lnTo>
                  <a:pt x="4528" y="2705"/>
                </a:lnTo>
                <a:lnTo>
                  <a:pt x="4614" y="2705"/>
                </a:lnTo>
                <a:lnTo>
                  <a:pt x="4614" y="2839"/>
                </a:lnTo>
                <a:lnTo>
                  <a:pt x="4528" y="2839"/>
                </a:lnTo>
                <a:close/>
                <a:moveTo>
                  <a:pt x="4504" y="3207"/>
                </a:moveTo>
                <a:lnTo>
                  <a:pt x="4590" y="3207"/>
                </a:lnTo>
                <a:lnTo>
                  <a:pt x="4590" y="3341"/>
                </a:lnTo>
                <a:lnTo>
                  <a:pt x="4504" y="3341"/>
                </a:lnTo>
                <a:lnTo>
                  <a:pt x="4504" y="3207"/>
                </a:lnTo>
                <a:close/>
                <a:moveTo>
                  <a:pt x="4504" y="3378"/>
                </a:moveTo>
                <a:lnTo>
                  <a:pt x="4590" y="3378"/>
                </a:lnTo>
                <a:lnTo>
                  <a:pt x="4590" y="3464"/>
                </a:lnTo>
                <a:lnTo>
                  <a:pt x="4504" y="3464"/>
                </a:lnTo>
                <a:lnTo>
                  <a:pt x="4504" y="3378"/>
                </a:lnTo>
                <a:close/>
                <a:moveTo>
                  <a:pt x="4504" y="3500"/>
                </a:moveTo>
                <a:lnTo>
                  <a:pt x="4590" y="3500"/>
                </a:lnTo>
                <a:lnTo>
                  <a:pt x="4590" y="3525"/>
                </a:lnTo>
                <a:lnTo>
                  <a:pt x="4565" y="3525"/>
                </a:lnTo>
                <a:lnTo>
                  <a:pt x="4565" y="3500"/>
                </a:lnTo>
                <a:lnTo>
                  <a:pt x="4541" y="3500"/>
                </a:lnTo>
                <a:lnTo>
                  <a:pt x="4541" y="3525"/>
                </a:lnTo>
                <a:lnTo>
                  <a:pt x="4504" y="3525"/>
                </a:lnTo>
                <a:lnTo>
                  <a:pt x="4504" y="3500"/>
                </a:lnTo>
                <a:close/>
                <a:moveTo>
                  <a:pt x="4504" y="3549"/>
                </a:moveTo>
                <a:lnTo>
                  <a:pt x="4541" y="3549"/>
                </a:lnTo>
                <a:lnTo>
                  <a:pt x="4541" y="3549"/>
                </a:lnTo>
                <a:lnTo>
                  <a:pt x="4504" y="3549"/>
                </a:lnTo>
                <a:lnTo>
                  <a:pt x="4504" y="3549"/>
                </a:lnTo>
                <a:close/>
                <a:moveTo>
                  <a:pt x="4504" y="3586"/>
                </a:moveTo>
                <a:lnTo>
                  <a:pt x="4541" y="3586"/>
                </a:lnTo>
                <a:lnTo>
                  <a:pt x="4541" y="3659"/>
                </a:lnTo>
                <a:lnTo>
                  <a:pt x="4504" y="3659"/>
                </a:lnTo>
                <a:lnTo>
                  <a:pt x="4504" y="3586"/>
                </a:lnTo>
                <a:close/>
                <a:moveTo>
                  <a:pt x="4504" y="3708"/>
                </a:moveTo>
                <a:lnTo>
                  <a:pt x="4541" y="3708"/>
                </a:lnTo>
                <a:lnTo>
                  <a:pt x="4541" y="3745"/>
                </a:lnTo>
                <a:lnTo>
                  <a:pt x="4504" y="3745"/>
                </a:lnTo>
                <a:lnTo>
                  <a:pt x="4504" y="3708"/>
                </a:lnTo>
                <a:close/>
                <a:moveTo>
                  <a:pt x="4504" y="3782"/>
                </a:moveTo>
                <a:lnTo>
                  <a:pt x="4541" y="3782"/>
                </a:lnTo>
                <a:lnTo>
                  <a:pt x="4541" y="3818"/>
                </a:lnTo>
                <a:lnTo>
                  <a:pt x="4504" y="3818"/>
                </a:lnTo>
                <a:lnTo>
                  <a:pt x="4504" y="3782"/>
                </a:lnTo>
                <a:close/>
                <a:moveTo>
                  <a:pt x="3990" y="3366"/>
                </a:moveTo>
                <a:lnTo>
                  <a:pt x="4100" y="3255"/>
                </a:lnTo>
                <a:lnTo>
                  <a:pt x="4210" y="3366"/>
                </a:lnTo>
                <a:lnTo>
                  <a:pt x="3990" y="3366"/>
                </a:lnTo>
                <a:close/>
                <a:moveTo>
                  <a:pt x="4210" y="3439"/>
                </a:moveTo>
                <a:lnTo>
                  <a:pt x="4100" y="3537"/>
                </a:lnTo>
                <a:lnTo>
                  <a:pt x="4002" y="3439"/>
                </a:lnTo>
                <a:lnTo>
                  <a:pt x="4210" y="3439"/>
                </a:lnTo>
                <a:close/>
                <a:moveTo>
                  <a:pt x="4002" y="3072"/>
                </a:moveTo>
                <a:lnTo>
                  <a:pt x="4210" y="3072"/>
                </a:lnTo>
                <a:lnTo>
                  <a:pt x="4100" y="3182"/>
                </a:lnTo>
                <a:lnTo>
                  <a:pt x="4002" y="3072"/>
                </a:lnTo>
                <a:close/>
                <a:moveTo>
                  <a:pt x="4137" y="3219"/>
                </a:moveTo>
                <a:lnTo>
                  <a:pt x="4247" y="3109"/>
                </a:lnTo>
                <a:lnTo>
                  <a:pt x="4247" y="3329"/>
                </a:lnTo>
                <a:lnTo>
                  <a:pt x="4137" y="3219"/>
                </a:lnTo>
                <a:close/>
                <a:moveTo>
                  <a:pt x="4210" y="2998"/>
                </a:moveTo>
                <a:lnTo>
                  <a:pt x="3990" y="2998"/>
                </a:lnTo>
                <a:lnTo>
                  <a:pt x="4100" y="2888"/>
                </a:lnTo>
                <a:lnTo>
                  <a:pt x="4210" y="2998"/>
                </a:lnTo>
                <a:close/>
                <a:moveTo>
                  <a:pt x="4137" y="2852"/>
                </a:moveTo>
                <a:lnTo>
                  <a:pt x="4247" y="2741"/>
                </a:lnTo>
                <a:lnTo>
                  <a:pt x="4247" y="2962"/>
                </a:lnTo>
                <a:lnTo>
                  <a:pt x="4137" y="2852"/>
                </a:lnTo>
                <a:close/>
                <a:moveTo>
                  <a:pt x="3941" y="2974"/>
                </a:moveTo>
                <a:lnTo>
                  <a:pt x="3941" y="2729"/>
                </a:lnTo>
                <a:lnTo>
                  <a:pt x="4063" y="2852"/>
                </a:lnTo>
                <a:lnTo>
                  <a:pt x="3941" y="2974"/>
                </a:lnTo>
                <a:close/>
                <a:moveTo>
                  <a:pt x="4063" y="3219"/>
                </a:moveTo>
                <a:lnTo>
                  <a:pt x="3941" y="3329"/>
                </a:lnTo>
                <a:lnTo>
                  <a:pt x="3941" y="3096"/>
                </a:lnTo>
                <a:lnTo>
                  <a:pt x="4063" y="3219"/>
                </a:lnTo>
                <a:close/>
                <a:moveTo>
                  <a:pt x="4063" y="3574"/>
                </a:moveTo>
                <a:lnTo>
                  <a:pt x="3941" y="3696"/>
                </a:lnTo>
                <a:lnTo>
                  <a:pt x="3941" y="3464"/>
                </a:lnTo>
                <a:lnTo>
                  <a:pt x="4063" y="3574"/>
                </a:lnTo>
                <a:close/>
                <a:moveTo>
                  <a:pt x="4100" y="3610"/>
                </a:moveTo>
                <a:lnTo>
                  <a:pt x="4210" y="3721"/>
                </a:lnTo>
                <a:lnTo>
                  <a:pt x="3990" y="3721"/>
                </a:lnTo>
                <a:lnTo>
                  <a:pt x="4100" y="3610"/>
                </a:lnTo>
                <a:close/>
                <a:moveTo>
                  <a:pt x="4137" y="3574"/>
                </a:moveTo>
                <a:lnTo>
                  <a:pt x="4247" y="3464"/>
                </a:lnTo>
                <a:lnTo>
                  <a:pt x="4247" y="3696"/>
                </a:lnTo>
                <a:lnTo>
                  <a:pt x="4137" y="3574"/>
                </a:lnTo>
                <a:close/>
                <a:moveTo>
                  <a:pt x="4137" y="1297"/>
                </a:moveTo>
                <a:lnTo>
                  <a:pt x="4271" y="1297"/>
                </a:lnTo>
                <a:lnTo>
                  <a:pt x="4271" y="1358"/>
                </a:lnTo>
                <a:lnTo>
                  <a:pt x="4137" y="1358"/>
                </a:lnTo>
                <a:lnTo>
                  <a:pt x="4137" y="1297"/>
                </a:lnTo>
                <a:close/>
                <a:moveTo>
                  <a:pt x="4137" y="1395"/>
                </a:moveTo>
                <a:lnTo>
                  <a:pt x="4271" y="1395"/>
                </a:lnTo>
                <a:lnTo>
                  <a:pt x="4271" y="1456"/>
                </a:lnTo>
                <a:lnTo>
                  <a:pt x="4137" y="1456"/>
                </a:lnTo>
                <a:lnTo>
                  <a:pt x="4137" y="1395"/>
                </a:lnTo>
                <a:close/>
                <a:moveTo>
                  <a:pt x="4137" y="1481"/>
                </a:moveTo>
                <a:lnTo>
                  <a:pt x="4271" y="1481"/>
                </a:lnTo>
                <a:lnTo>
                  <a:pt x="4271" y="1554"/>
                </a:lnTo>
                <a:lnTo>
                  <a:pt x="4137" y="1554"/>
                </a:lnTo>
                <a:lnTo>
                  <a:pt x="4137" y="1481"/>
                </a:lnTo>
                <a:close/>
                <a:moveTo>
                  <a:pt x="4137" y="1579"/>
                </a:moveTo>
                <a:lnTo>
                  <a:pt x="4271" y="1579"/>
                </a:lnTo>
                <a:lnTo>
                  <a:pt x="4271" y="1640"/>
                </a:lnTo>
                <a:lnTo>
                  <a:pt x="4137" y="1640"/>
                </a:lnTo>
                <a:lnTo>
                  <a:pt x="4137" y="1579"/>
                </a:lnTo>
                <a:close/>
                <a:moveTo>
                  <a:pt x="4137" y="1677"/>
                </a:moveTo>
                <a:lnTo>
                  <a:pt x="4271" y="1677"/>
                </a:lnTo>
                <a:lnTo>
                  <a:pt x="4271" y="1738"/>
                </a:lnTo>
                <a:lnTo>
                  <a:pt x="4137" y="1738"/>
                </a:lnTo>
                <a:lnTo>
                  <a:pt x="4137" y="1677"/>
                </a:lnTo>
                <a:close/>
                <a:moveTo>
                  <a:pt x="4137" y="1775"/>
                </a:moveTo>
                <a:lnTo>
                  <a:pt x="4271" y="1775"/>
                </a:lnTo>
                <a:lnTo>
                  <a:pt x="4271" y="1836"/>
                </a:lnTo>
                <a:lnTo>
                  <a:pt x="4137" y="1836"/>
                </a:lnTo>
                <a:lnTo>
                  <a:pt x="4137" y="1775"/>
                </a:lnTo>
                <a:close/>
                <a:moveTo>
                  <a:pt x="4137" y="1872"/>
                </a:moveTo>
                <a:lnTo>
                  <a:pt x="4271" y="1872"/>
                </a:lnTo>
                <a:lnTo>
                  <a:pt x="4271" y="1934"/>
                </a:lnTo>
                <a:lnTo>
                  <a:pt x="4137" y="1934"/>
                </a:lnTo>
                <a:lnTo>
                  <a:pt x="4137" y="1872"/>
                </a:lnTo>
                <a:close/>
                <a:moveTo>
                  <a:pt x="4137" y="1970"/>
                </a:moveTo>
                <a:lnTo>
                  <a:pt x="4271" y="1970"/>
                </a:lnTo>
                <a:lnTo>
                  <a:pt x="4271" y="2032"/>
                </a:lnTo>
                <a:lnTo>
                  <a:pt x="4137" y="2032"/>
                </a:lnTo>
                <a:lnTo>
                  <a:pt x="4137" y="1970"/>
                </a:lnTo>
                <a:close/>
                <a:moveTo>
                  <a:pt x="4137" y="2056"/>
                </a:moveTo>
                <a:lnTo>
                  <a:pt x="4271" y="2056"/>
                </a:lnTo>
                <a:lnTo>
                  <a:pt x="4271" y="2117"/>
                </a:lnTo>
                <a:lnTo>
                  <a:pt x="4137" y="2117"/>
                </a:lnTo>
                <a:lnTo>
                  <a:pt x="4137" y="2056"/>
                </a:lnTo>
                <a:close/>
                <a:moveTo>
                  <a:pt x="4137" y="2154"/>
                </a:moveTo>
                <a:lnTo>
                  <a:pt x="4271" y="2154"/>
                </a:lnTo>
                <a:lnTo>
                  <a:pt x="4271" y="2215"/>
                </a:lnTo>
                <a:lnTo>
                  <a:pt x="4137" y="2215"/>
                </a:lnTo>
                <a:lnTo>
                  <a:pt x="4137" y="2154"/>
                </a:lnTo>
                <a:close/>
                <a:moveTo>
                  <a:pt x="4210" y="2717"/>
                </a:moveTo>
                <a:lnTo>
                  <a:pt x="4100" y="2815"/>
                </a:lnTo>
                <a:lnTo>
                  <a:pt x="4002" y="2717"/>
                </a:lnTo>
                <a:lnTo>
                  <a:pt x="4210" y="2717"/>
                </a:lnTo>
                <a:close/>
                <a:moveTo>
                  <a:pt x="3904" y="1297"/>
                </a:moveTo>
                <a:lnTo>
                  <a:pt x="4039" y="1297"/>
                </a:lnTo>
                <a:lnTo>
                  <a:pt x="4039" y="1358"/>
                </a:lnTo>
                <a:lnTo>
                  <a:pt x="3904" y="1358"/>
                </a:lnTo>
                <a:lnTo>
                  <a:pt x="3904" y="1297"/>
                </a:lnTo>
                <a:close/>
                <a:moveTo>
                  <a:pt x="3904" y="1395"/>
                </a:moveTo>
                <a:lnTo>
                  <a:pt x="4039" y="1395"/>
                </a:lnTo>
                <a:lnTo>
                  <a:pt x="4039" y="1456"/>
                </a:lnTo>
                <a:lnTo>
                  <a:pt x="3904" y="1456"/>
                </a:lnTo>
                <a:lnTo>
                  <a:pt x="3904" y="1395"/>
                </a:lnTo>
                <a:close/>
                <a:moveTo>
                  <a:pt x="3904" y="1481"/>
                </a:moveTo>
                <a:lnTo>
                  <a:pt x="4039" y="1481"/>
                </a:lnTo>
                <a:lnTo>
                  <a:pt x="4039" y="1554"/>
                </a:lnTo>
                <a:lnTo>
                  <a:pt x="3904" y="1554"/>
                </a:lnTo>
                <a:lnTo>
                  <a:pt x="3904" y="1481"/>
                </a:lnTo>
                <a:close/>
                <a:moveTo>
                  <a:pt x="3904" y="1579"/>
                </a:moveTo>
                <a:lnTo>
                  <a:pt x="4039" y="1579"/>
                </a:lnTo>
                <a:lnTo>
                  <a:pt x="4039" y="1640"/>
                </a:lnTo>
                <a:lnTo>
                  <a:pt x="3904" y="1640"/>
                </a:lnTo>
                <a:lnTo>
                  <a:pt x="3904" y="1579"/>
                </a:lnTo>
                <a:close/>
                <a:moveTo>
                  <a:pt x="3904" y="1677"/>
                </a:moveTo>
                <a:lnTo>
                  <a:pt x="4039" y="1677"/>
                </a:lnTo>
                <a:lnTo>
                  <a:pt x="4039" y="1738"/>
                </a:lnTo>
                <a:lnTo>
                  <a:pt x="3904" y="1738"/>
                </a:lnTo>
                <a:lnTo>
                  <a:pt x="3904" y="1677"/>
                </a:lnTo>
                <a:close/>
                <a:moveTo>
                  <a:pt x="3904" y="1775"/>
                </a:moveTo>
                <a:lnTo>
                  <a:pt x="4039" y="1775"/>
                </a:lnTo>
                <a:lnTo>
                  <a:pt x="4039" y="1836"/>
                </a:lnTo>
                <a:lnTo>
                  <a:pt x="3904" y="1836"/>
                </a:lnTo>
                <a:lnTo>
                  <a:pt x="3904" y="1775"/>
                </a:lnTo>
                <a:close/>
                <a:moveTo>
                  <a:pt x="3904" y="1872"/>
                </a:moveTo>
                <a:lnTo>
                  <a:pt x="4039" y="1872"/>
                </a:lnTo>
                <a:lnTo>
                  <a:pt x="4039" y="1934"/>
                </a:lnTo>
                <a:lnTo>
                  <a:pt x="3904" y="1934"/>
                </a:lnTo>
                <a:lnTo>
                  <a:pt x="3904" y="1872"/>
                </a:lnTo>
                <a:close/>
                <a:moveTo>
                  <a:pt x="3904" y="1970"/>
                </a:moveTo>
                <a:lnTo>
                  <a:pt x="4039" y="1970"/>
                </a:lnTo>
                <a:lnTo>
                  <a:pt x="4039" y="2032"/>
                </a:lnTo>
                <a:lnTo>
                  <a:pt x="3904" y="2032"/>
                </a:lnTo>
                <a:lnTo>
                  <a:pt x="3904" y="1970"/>
                </a:lnTo>
                <a:close/>
                <a:moveTo>
                  <a:pt x="3904" y="2056"/>
                </a:moveTo>
                <a:lnTo>
                  <a:pt x="4039" y="2056"/>
                </a:lnTo>
                <a:lnTo>
                  <a:pt x="4039" y="2117"/>
                </a:lnTo>
                <a:lnTo>
                  <a:pt x="3904" y="2117"/>
                </a:lnTo>
                <a:lnTo>
                  <a:pt x="3904" y="2056"/>
                </a:lnTo>
                <a:close/>
                <a:moveTo>
                  <a:pt x="3904" y="2154"/>
                </a:moveTo>
                <a:lnTo>
                  <a:pt x="4039" y="2154"/>
                </a:lnTo>
                <a:lnTo>
                  <a:pt x="4039" y="2215"/>
                </a:lnTo>
                <a:lnTo>
                  <a:pt x="3904" y="2215"/>
                </a:lnTo>
                <a:lnTo>
                  <a:pt x="3904" y="2154"/>
                </a:lnTo>
                <a:close/>
                <a:moveTo>
                  <a:pt x="3941" y="3806"/>
                </a:moveTo>
                <a:lnTo>
                  <a:pt x="4247" y="3806"/>
                </a:lnTo>
                <a:lnTo>
                  <a:pt x="4247" y="3818"/>
                </a:lnTo>
                <a:lnTo>
                  <a:pt x="3941" y="3818"/>
                </a:lnTo>
                <a:lnTo>
                  <a:pt x="3941" y="3806"/>
                </a:lnTo>
                <a:close/>
                <a:moveTo>
                  <a:pt x="1958" y="3329"/>
                </a:moveTo>
                <a:lnTo>
                  <a:pt x="1885" y="3415"/>
                </a:lnTo>
                <a:lnTo>
                  <a:pt x="1799" y="3329"/>
                </a:lnTo>
                <a:lnTo>
                  <a:pt x="1958" y="3329"/>
                </a:lnTo>
                <a:close/>
                <a:moveTo>
                  <a:pt x="1799" y="3280"/>
                </a:moveTo>
                <a:lnTo>
                  <a:pt x="1885" y="3194"/>
                </a:lnTo>
                <a:lnTo>
                  <a:pt x="1970" y="3280"/>
                </a:lnTo>
                <a:lnTo>
                  <a:pt x="1799" y="3280"/>
                </a:lnTo>
                <a:close/>
                <a:moveTo>
                  <a:pt x="1995" y="3353"/>
                </a:moveTo>
                <a:lnTo>
                  <a:pt x="1995" y="3525"/>
                </a:lnTo>
                <a:lnTo>
                  <a:pt x="1909" y="3439"/>
                </a:lnTo>
                <a:lnTo>
                  <a:pt x="1995" y="3353"/>
                </a:lnTo>
                <a:close/>
                <a:moveTo>
                  <a:pt x="1970" y="3549"/>
                </a:moveTo>
                <a:lnTo>
                  <a:pt x="1799" y="3549"/>
                </a:lnTo>
                <a:lnTo>
                  <a:pt x="1885" y="3464"/>
                </a:lnTo>
                <a:lnTo>
                  <a:pt x="1970" y="3549"/>
                </a:lnTo>
                <a:close/>
                <a:moveTo>
                  <a:pt x="1958" y="3610"/>
                </a:moveTo>
                <a:lnTo>
                  <a:pt x="1885" y="3684"/>
                </a:lnTo>
                <a:lnTo>
                  <a:pt x="1799" y="3610"/>
                </a:lnTo>
                <a:lnTo>
                  <a:pt x="1958" y="3610"/>
                </a:lnTo>
                <a:close/>
                <a:moveTo>
                  <a:pt x="1995" y="3635"/>
                </a:moveTo>
                <a:lnTo>
                  <a:pt x="1995" y="3806"/>
                </a:lnTo>
                <a:lnTo>
                  <a:pt x="1909" y="3721"/>
                </a:lnTo>
                <a:lnTo>
                  <a:pt x="1995" y="3635"/>
                </a:lnTo>
                <a:close/>
                <a:moveTo>
                  <a:pt x="1995" y="3243"/>
                </a:moveTo>
                <a:lnTo>
                  <a:pt x="1909" y="3158"/>
                </a:lnTo>
                <a:lnTo>
                  <a:pt x="1995" y="3072"/>
                </a:lnTo>
                <a:lnTo>
                  <a:pt x="1995" y="3243"/>
                </a:lnTo>
                <a:close/>
                <a:moveTo>
                  <a:pt x="1958" y="3060"/>
                </a:moveTo>
                <a:lnTo>
                  <a:pt x="1885" y="3133"/>
                </a:lnTo>
                <a:lnTo>
                  <a:pt x="1799" y="3060"/>
                </a:lnTo>
                <a:lnTo>
                  <a:pt x="1958" y="3060"/>
                </a:lnTo>
                <a:close/>
                <a:moveTo>
                  <a:pt x="1762" y="3072"/>
                </a:moveTo>
                <a:lnTo>
                  <a:pt x="1848" y="3158"/>
                </a:lnTo>
                <a:lnTo>
                  <a:pt x="1762" y="3255"/>
                </a:lnTo>
                <a:lnTo>
                  <a:pt x="1762" y="3072"/>
                </a:lnTo>
                <a:close/>
                <a:moveTo>
                  <a:pt x="1762" y="3353"/>
                </a:moveTo>
                <a:lnTo>
                  <a:pt x="1848" y="3439"/>
                </a:lnTo>
                <a:lnTo>
                  <a:pt x="1762" y="3525"/>
                </a:lnTo>
                <a:lnTo>
                  <a:pt x="1762" y="3353"/>
                </a:lnTo>
                <a:close/>
                <a:moveTo>
                  <a:pt x="1762" y="3623"/>
                </a:moveTo>
                <a:lnTo>
                  <a:pt x="1848" y="3721"/>
                </a:lnTo>
                <a:lnTo>
                  <a:pt x="1762" y="3806"/>
                </a:lnTo>
                <a:lnTo>
                  <a:pt x="1762" y="3623"/>
                </a:lnTo>
                <a:close/>
                <a:moveTo>
                  <a:pt x="1885" y="3745"/>
                </a:moveTo>
                <a:lnTo>
                  <a:pt x="1958" y="3818"/>
                </a:lnTo>
                <a:lnTo>
                  <a:pt x="1799" y="3818"/>
                </a:lnTo>
                <a:lnTo>
                  <a:pt x="1885" y="3745"/>
                </a:lnTo>
                <a:close/>
                <a:moveTo>
                  <a:pt x="1456" y="2644"/>
                </a:moveTo>
                <a:lnTo>
                  <a:pt x="1542" y="2644"/>
                </a:lnTo>
                <a:lnTo>
                  <a:pt x="1542" y="2778"/>
                </a:lnTo>
                <a:lnTo>
                  <a:pt x="1456" y="2778"/>
                </a:lnTo>
                <a:lnTo>
                  <a:pt x="1456" y="2644"/>
                </a:lnTo>
                <a:close/>
                <a:moveTo>
                  <a:pt x="1456" y="2815"/>
                </a:moveTo>
                <a:lnTo>
                  <a:pt x="1542" y="2815"/>
                </a:lnTo>
                <a:lnTo>
                  <a:pt x="1542" y="2949"/>
                </a:lnTo>
                <a:lnTo>
                  <a:pt x="1456" y="2949"/>
                </a:lnTo>
                <a:lnTo>
                  <a:pt x="1456" y="2815"/>
                </a:lnTo>
                <a:close/>
                <a:moveTo>
                  <a:pt x="1456" y="2974"/>
                </a:moveTo>
                <a:lnTo>
                  <a:pt x="1542" y="2974"/>
                </a:lnTo>
                <a:lnTo>
                  <a:pt x="1542" y="3109"/>
                </a:lnTo>
                <a:lnTo>
                  <a:pt x="1456" y="3109"/>
                </a:lnTo>
                <a:lnTo>
                  <a:pt x="1456" y="2974"/>
                </a:lnTo>
                <a:close/>
                <a:moveTo>
                  <a:pt x="1456" y="3145"/>
                </a:moveTo>
                <a:lnTo>
                  <a:pt x="1542" y="3145"/>
                </a:lnTo>
                <a:lnTo>
                  <a:pt x="1542" y="3243"/>
                </a:lnTo>
                <a:lnTo>
                  <a:pt x="1456" y="3243"/>
                </a:lnTo>
                <a:lnTo>
                  <a:pt x="1456" y="3145"/>
                </a:lnTo>
                <a:close/>
                <a:moveTo>
                  <a:pt x="1456" y="3280"/>
                </a:moveTo>
                <a:lnTo>
                  <a:pt x="1542" y="3280"/>
                </a:lnTo>
                <a:lnTo>
                  <a:pt x="1542" y="3415"/>
                </a:lnTo>
                <a:lnTo>
                  <a:pt x="1456" y="3415"/>
                </a:lnTo>
                <a:lnTo>
                  <a:pt x="1456" y="3280"/>
                </a:lnTo>
                <a:close/>
                <a:moveTo>
                  <a:pt x="1456" y="3439"/>
                </a:moveTo>
                <a:lnTo>
                  <a:pt x="1542" y="3439"/>
                </a:lnTo>
                <a:lnTo>
                  <a:pt x="1542" y="3574"/>
                </a:lnTo>
                <a:lnTo>
                  <a:pt x="1456" y="3574"/>
                </a:lnTo>
                <a:lnTo>
                  <a:pt x="1456" y="3439"/>
                </a:lnTo>
                <a:close/>
                <a:moveTo>
                  <a:pt x="1456" y="3610"/>
                </a:moveTo>
                <a:lnTo>
                  <a:pt x="1542" y="3610"/>
                </a:lnTo>
                <a:lnTo>
                  <a:pt x="1542" y="3745"/>
                </a:lnTo>
                <a:lnTo>
                  <a:pt x="1456" y="3745"/>
                </a:lnTo>
                <a:lnTo>
                  <a:pt x="1456" y="3610"/>
                </a:lnTo>
                <a:close/>
                <a:moveTo>
                  <a:pt x="1456" y="3769"/>
                </a:moveTo>
                <a:lnTo>
                  <a:pt x="1542" y="3769"/>
                </a:lnTo>
                <a:lnTo>
                  <a:pt x="1542" y="3818"/>
                </a:lnTo>
                <a:lnTo>
                  <a:pt x="1456" y="3818"/>
                </a:lnTo>
                <a:lnTo>
                  <a:pt x="1456" y="3769"/>
                </a:lnTo>
                <a:close/>
                <a:moveTo>
                  <a:pt x="942" y="2864"/>
                </a:moveTo>
                <a:lnTo>
                  <a:pt x="869" y="2790"/>
                </a:lnTo>
                <a:lnTo>
                  <a:pt x="1028" y="2790"/>
                </a:lnTo>
                <a:lnTo>
                  <a:pt x="942" y="2864"/>
                </a:lnTo>
                <a:close/>
                <a:moveTo>
                  <a:pt x="1052" y="2803"/>
                </a:moveTo>
                <a:lnTo>
                  <a:pt x="1052" y="2974"/>
                </a:lnTo>
                <a:lnTo>
                  <a:pt x="967" y="2888"/>
                </a:lnTo>
                <a:lnTo>
                  <a:pt x="1052" y="2803"/>
                </a:lnTo>
                <a:close/>
                <a:moveTo>
                  <a:pt x="1016" y="2986"/>
                </a:moveTo>
                <a:lnTo>
                  <a:pt x="869" y="2986"/>
                </a:lnTo>
                <a:lnTo>
                  <a:pt x="942" y="2913"/>
                </a:lnTo>
                <a:lnTo>
                  <a:pt x="1016" y="2986"/>
                </a:lnTo>
                <a:close/>
                <a:moveTo>
                  <a:pt x="1028" y="3047"/>
                </a:moveTo>
                <a:lnTo>
                  <a:pt x="942" y="3121"/>
                </a:lnTo>
                <a:lnTo>
                  <a:pt x="869" y="3047"/>
                </a:lnTo>
                <a:lnTo>
                  <a:pt x="1028" y="3047"/>
                </a:lnTo>
                <a:close/>
                <a:moveTo>
                  <a:pt x="1052" y="3060"/>
                </a:moveTo>
                <a:lnTo>
                  <a:pt x="1052" y="3231"/>
                </a:lnTo>
                <a:lnTo>
                  <a:pt x="967" y="3145"/>
                </a:lnTo>
                <a:lnTo>
                  <a:pt x="1052" y="3060"/>
                </a:lnTo>
                <a:close/>
                <a:moveTo>
                  <a:pt x="1016" y="3243"/>
                </a:moveTo>
                <a:lnTo>
                  <a:pt x="869" y="3243"/>
                </a:lnTo>
                <a:lnTo>
                  <a:pt x="942" y="3170"/>
                </a:lnTo>
                <a:lnTo>
                  <a:pt x="1016" y="3243"/>
                </a:lnTo>
                <a:close/>
                <a:moveTo>
                  <a:pt x="1028" y="3304"/>
                </a:moveTo>
                <a:lnTo>
                  <a:pt x="942" y="3378"/>
                </a:lnTo>
                <a:lnTo>
                  <a:pt x="869" y="3304"/>
                </a:lnTo>
                <a:lnTo>
                  <a:pt x="1028" y="3304"/>
                </a:lnTo>
                <a:close/>
                <a:moveTo>
                  <a:pt x="1052" y="3317"/>
                </a:moveTo>
                <a:lnTo>
                  <a:pt x="1052" y="3488"/>
                </a:lnTo>
                <a:lnTo>
                  <a:pt x="967" y="3402"/>
                </a:lnTo>
                <a:lnTo>
                  <a:pt x="1052" y="3317"/>
                </a:lnTo>
                <a:close/>
                <a:moveTo>
                  <a:pt x="1016" y="3500"/>
                </a:moveTo>
                <a:lnTo>
                  <a:pt x="869" y="3500"/>
                </a:lnTo>
                <a:lnTo>
                  <a:pt x="942" y="3427"/>
                </a:lnTo>
                <a:lnTo>
                  <a:pt x="1016" y="3500"/>
                </a:lnTo>
                <a:close/>
                <a:moveTo>
                  <a:pt x="1028" y="3561"/>
                </a:moveTo>
                <a:lnTo>
                  <a:pt x="942" y="3635"/>
                </a:lnTo>
                <a:lnTo>
                  <a:pt x="869" y="3561"/>
                </a:lnTo>
                <a:lnTo>
                  <a:pt x="1028" y="3561"/>
                </a:lnTo>
                <a:close/>
                <a:moveTo>
                  <a:pt x="1052" y="3574"/>
                </a:moveTo>
                <a:lnTo>
                  <a:pt x="1052" y="3745"/>
                </a:lnTo>
                <a:lnTo>
                  <a:pt x="967" y="3659"/>
                </a:lnTo>
                <a:lnTo>
                  <a:pt x="1052" y="3574"/>
                </a:lnTo>
                <a:close/>
                <a:moveTo>
                  <a:pt x="1028" y="1946"/>
                </a:moveTo>
                <a:lnTo>
                  <a:pt x="942" y="2032"/>
                </a:lnTo>
                <a:lnTo>
                  <a:pt x="869" y="1946"/>
                </a:lnTo>
                <a:lnTo>
                  <a:pt x="1028" y="1946"/>
                </a:lnTo>
                <a:close/>
                <a:moveTo>
                  <a:pt x="869" y="1897"/>
                </a:moveTo>
                <a:lnTo>
                  <a:pt x="942" y="1824"/>
                </a:lnTo>
                <a:lnTo>
                  <a:pt x="1016" y="1897"/>
                </a:lnTo>
                <a:lnTo>
                  <a:pt x="869" y="1897"/>
                </a:lnTo>
                <a:close/>
                <a:moveTo>
                  <a:pt x="1052" y="1970"/>
                </a:moveTo>
                <a:lnTo>
                  <a:pt x="1052" y="2130"/>
                </a:lnTo>
                <a:lnTo>
                  <a:pt x="967" y="2056"/>
                </a:lnTo>
                <a:lnTo>
                  <a:pt x="1052" y="1970"/>
                </a:lnTo>
                <a:close/>
                <a:moveTo>
                  <a:pt x="1016" y="2154"/>
                </a:moveTo>
                <a:lnTo>
                  <a:pt x="869" y="2154"/>
                </a:lnTo>
                <a:lnTo>
                  <a:pt x="942" y="2081"/>
                </a:lnTo>
                <a:lnTo>
                  <a:pt x="1016" y="2154"/>
                </a:lnTo>
                <a:close/>
                <a:moveTo>
                  <a:pt x="1028" y="2203"/>
                </a:moveTo>
                <a:lnTo>
                  <a:pt x="942" y="2289"/>
                </a:lnTo>
                <a:lnTo>
                  <a:pt x="869" y="2203"/>
                </a:lnTo>
                <a:lnTo>
                  <a:pt x="1028" y="2203"/>
                </a:lnTo>
                <a:close/>
                <a:moveTo>
                  <a:pt x="1052" y="2227"/>
                </a:moveTo>
                <a:lnTo>
                  <a:pt x="1052" y="2387"/>
                </a:lnTo>
                <a:lnTo>
                  <a:pt x="967" y="2313"/>
                </a:lnTo>
                <a:lnTo>
                  <a:pt x="1052" y="2227"/>
                </a:lnTo>
                <a:close/>
                <a:moveTo>
                  <a:pt x="1016" y="2411"/>
                </a:moveTo>
                <a:lnTo>
                  <a:pt x="869" y="2411"/>
                </a:lnTo>
                <a:lnTo>
                  <a:pt x="942" y="2338"/>
                </a:lnTo>
                <a:lnTo>
                  <a:pt x="1016" y="2411"/>
                </a:lnTo>
                <a:close/>
                <a:moveTo>
                  <a:pt x="1028" y="2460"/>
                </a:moveTo>
                <a:lnTo>
                  <a:pt x="942" y="2533"/>
                </a:lnTo>
                <a:lnTo>
                  <a:pt x="869" y="2460"/>
                </a:lnTo>
                <a:lnTo>
                  <a:pt x="1028" y="2460"/>
                </a:lnTo>
                <a:close/>
                <a:moveTo>
                  <a:pt x="1052" y="2484"/>
                </a:moveTo>
                <a:lnTo>
                  <a:pt x="1052" y="2644"/>
                </a:lnTo>
                <a:lnTo>
                  <a:pt x="967" y="2570"/>
                </a:lnTo>
                <a:lnTo>
                  <a:pt x="1052" y="2484"/>
                </a:lnTo>
                <a:close/>
                <a:moveTo>
                  <a:pt x="1052" y="1872"/>
                </a:moveTo>
                <a:lnTo>
                  <a:pt x="967" y="1799"/>
                </a:lnTo>
                <a:lnTo>
                  <a:pt x="1052" y="1713"/>
                </a:lnTo>
                <a:lnTo>
                  <a:pt x="1052" y="1872"/>
                </a:lnTo>
                <a:close/>
                <a:moveTo>
                  <a:pt x="942" y="1775"/>
                </a:moveTo>
                <a:lnTo>
                  <a:pt x="869" y="1689"/>
                </a:lnTo>
                <a:lnTo>
                  <a:pt x="1028" y="1689"/>
                </a:lnTo>
                <a:lnTo>
                  <a:pt x="942" y="1775"/>
                </a:lnTo>
                <a:close/>
                <a:moveTo>
                  <a:pt x="1003" y="392"/>
                </a:moveTo>
                <a:lnTo>
                  <a:pt x="942" y="453"/>
                </a:lnTo>
                <a:lnTo>
                  <a:pt x="881" y="392"/>
                </a:lnTo>
                <a:lnTo>
                  <a:pt x="1003" y="392"/>
                </a:lnTo>
                <a:close/>
                <a:moveTo>
                  <a:pt x="881" y="355"/>
                </a:moveTo>
                <a:lnTo>
                  <a:pt x="942" y="294"/>
                </a:lnTo>
                <a:lnTo>
                  <a:pt x="1003" y="355"/>
                </a:lnTo>
                <a:lnTo>
                  <a:pt x="881" y="355"/>
                </a:lnTo>
                <a:close/>
                <a:moveTo>
                  <a:pt x="1028" y="404"/>
                </a:moveTo>
                <a:lnTo>
                  <a:pt x="1028" y="538"/>
                </a:lnTo>
                <a:lnTo>
                  <a:pt x="967" y="465"/>
                </a:lnTo>
                <a:lnTo>
                  <a:pt x="1028" y="404"/>
                </a:lnTo>
                <a:close/>
                <a:moveTo>
                  <a:pt x="1003" y="551"/>
                </a:moveTo>
                <a:lnTo>
                  <a:pt x="881" y="551"/>
                </a:lnTo>
                <a:lnTo>
                  <a:pt x="942" y="490"/>
                </a:lnTo>
                <a:lnTo>
                  <a:pt x="1003" y="551"/>
                </a:lnTo>
                <a:close/>
                <a:moveTo>
                  <a:pt x="1028" y="930"/>
                </a:moveTo>
                <a:lnTo>
                  <a:pt x="1028" y="967"/>
                </a:lnTo>
                <a:lnTo>
                  <a:pt x="991" y="930"/>
                </a:lnTo>
                <a:lnTo>
                  <a:pt x="1028" y="930"/>
                </a:lnTo>
                <a:close/>
                <a:moveTo>
                  <a:pt x="954" y="930"/>
                </a:moveTo>
                <a:lnTo>
                  <a:pt x="991" y="967"/>
                </a:lnTo>
                <a:lnTo>
                  <a:pt x="881" y="967"/>
                </a:lnTo>
                <a:lnTo>
                  <a:pt x="930" y="930"/>
                </a:lnTo>
                <a:lnTo>
                  <a:pt x="954" y="930"/>
                </a:lnTo>
                <a:close/>
                <a:moveTo>
                  <a:pt x="1003" y="1016"/>
                </a:moveTo>
                <a:lnTo>
                  <a:pt x="942" y="1077"/>
                </a:lnTo>
                <a:lnTo>
                  <a:pt x="881" y="1016"/>
                </a:lnTo>
                <a:lnTo>
                  <a:pt x="1003" y="1016"/>
                </a:lnTo>
                <a:close/>
                <a:moveTo>
                  <a:pt x="1028" y="1028"/>
                </a:moveTo>
                <a:lnTo>
                  <a:pt x="1028" y="1163"/>
                </a:lnTo>
                <a:lnTo>
                  <a:pt x="954" y="1089"/>
                </a:lnTo>
                <a:lnTo>
                  <a:pt x="1028" y="1028"/>
                </a:lnTo>
                <a:close/>
                <a:moveTo>
                  <a:pt x="991" y="1163"/>
                </a:moveTo>
                <a:lnTo>
                  <a:pt x="881" y="1163"/>
                </a:lnTo>
                <a:lnTo>
                  <a:pt x="942" y="1114"/>
                </a:lnTo>
                <a:lnTo>
                  <a:pt x="991" y="1163"/>
                </a:lnTo>
                <a:close/>
                <a:moveTo>
                  <a:pt x="1003" y="1212"/>
                </a:moveTo>
                <a:lnTo>
                  <a:pt x="942" y="1273"/>
                </a:lnTo>
                <a:lnTo>
                  <a:pt x="881" y="1212"/>
                </a:lnTo>
                <a:lnTo>
                  <a:pt x="1003" y="1212"/>
                </a:lnTo>
                <a:close/>
                <a:moveTo>
                  <a:pt x="1028" y="1224"/>
                </a:moveTo>
                <a:lnTo>
                  <a:pt x="1028" y="1358"/>
                </a:lnTo>
                <a:lnTo>
                  <a:pt x="954" y="1285"/>
                </a:lnTo>
                <a:lnTo>
                  <a:pt x="1028" y="1224"/>
                </a:lnTo>
                <a:close/>
                <a:moveTo>
                  <a:pt x="991" y="1371"/>
                </a:moveTo>
                <a:lnTo>
                  <a:pt x="881" y="1371"/>
                </a:lnTo>
                <a:lnTo>
                  <a:pt x="942" y="1310"/>
                </a:lnTo>
                <a:lnTo>
                  <a:pt x="991" y="1371"/>
                </a:lnTo>
                <a:close/>
                <a:moveTo>
                  <a:pt x="1003" y="1407"/>
                </a:moveTo>
                <a:lnTo>
                  <a:pt x="942" y="1469"/>
                </a:lnTo>
                <a:lnTo>
                  <a:pt x="881" y="1407"/>
                </a:lnTo>
                <a:lnTo>
                  <a:pt x="1003" y="1407"/>
                </a:lnTo>
                <a:close/>
                <a:moveTo>
                  <a:pt x="1028" y="1420"/>
                </a:moveTo>
                <a:lnTo>
                  <a:pt x="1028" y="1554"/>
                </a:lnTo>
                <a:lnTo>
                  <a:pt x="954" y="1481"/>
                </a:lnTo>
                <a:lnTo>
                  <a:pt x="1028" y="1420"/>
                </a:lnTo>
                <a:close/>
                <a:moveTo>
                  <a:pt x="1028" y="343"/>
                </a:moveTo>
                <a:lnTo>
                  <a:pt x="967" y="269"/>
                </a:lnTo>
                <a:lnTo>
                  <a:pt x="1028" y="208"/>
                </a:lnTo>
                <a:lnTo>
                  <a:pt x="1028" y="343"/>
                </a:lnTo>
                <a:close/>
                <a:moveTo>
                  <a:pt x="1003" y="196"/>
                </a:moveTo>
                <a:lnTo>
                  <a:pt x="942" y="257"/>
                </a:lnTo>
                <a:lnTo>
                  <a:pt x="881" y="196"/>
                </a:lnTo>
                <a:lnTo>
                  <a:pt x="1003" y="196"/>
                </a:lnTo>
                <a:close/>
                <a:moveTo>
                  <a:pt x="857" y="208"/>
                </a:moveTo>
                <a:lnTo>
                  <a:pt x="918" y="269"/>
                </a:lnTo>
                <a:lnTo>
                  <a:pt x="857" y="330"/>
                </a:lnTo>
                <a:lnTo>
                  <a:pt x="857" y="208"/>
                </a:lnTo>
                <a:close/>
                <a:moveTo>
                  <a:pt x="857" y="404"/>
                </a:moveTo>
                <a:lnTo>
                  <a:pt x="918" y="465"/>
                </a:lnTo>
                <a:lnTo>
                  <a:pt x="857" y="526"/>
                </a:lnTo>
                <a:lnTo>
                  <a:pt x="857" y="404"/>
                </a:lnTo>
                <a:close/>
                <a:moveTo>
                  <a:pt x="857" y="930"/>
                </a:moveTo>
                <a:lnTo>
                  <a:pt x="881" y="930"/>
                </a:lnTo>
                <a:lnTo>
                  <a:pt x="857" y="955"/>
                </a:lnTo>
                <a:lnTo>
                  <a:pt x="857" y="930"/>
                </a:lnTo>
                <a:close/>
                <a:moveTo>
                  <a:pt x="857" y="1028"/>
                </a:moveTo>
                <a:lnTo>
                  <a:pt x="918" y="1089"/>
                </a:lnTo>
                <a:lnTo>
                  <a:pt x="857" y="1150"/>
                </a:lnTo>
                <a:lnTo>
                  <a:pt x="857" y="1028"/>
                </a:lnTo>
                <a:close/>
                <a:moveTo>
                  <a:pt x="857" y="1224"/>
                </a:moveTo>
                <a:lnTo>
                  <a:pt x="918" y="1285"/>
                </a:lnTo>
                <a:lnTo>
                  <a:pt x="857" y="1346"/>
                </a:lnTo>
                <a:lnTo>
                  <a:pt x="857" y="1224"/>
                </a:lnTo>
                <a:close/>
                <a:moveTo>
                  <a:pt x="857" y="1432"/>
                </a:moveTo>
                <a:lnTo>
                  <a:pt x="918" y="1481"/>
                </a:lnTo>
                <a:lnTo>
                  <a:pt x="857" y="1542"/>
                </a:lnTo>
                <a:lnTo>
                  <a:pt x="857" y="1432"/>
                </a:lnTo>
                <a:close/>
                <a:moveTo>
                  <a:pt x="857" y="1591"/>
                </a:moveTo>
                <a:lnTo>
                  <a:pt x="942" y="1505"/>
                </a:lnTo>
                <a:lnTo>
                  <a:pt x="1028" y="1591"/>
                </a:lnTo>
                <a:lnTo>
                  <a:pt x="1028" y="1640"/>
                </a:lnTo>
                <a:lnTo>
                  <a:pt x="857" y="1640"/>
                </a:lnTo>
                <a:lnTo>
                  <a:pt x="857" y="1591"/>
                </a:lnTo>
                <a:close/>
                <a:moveTo>
                  <a:pt x="844" y="1713"/>
                </a:moveTo>
                <a:lnTo>
                  <a:pt x="918" y="1799"/>
                </a:lnTo>
                <a:lnTo>
                  <a:pt x="844" y="1872"/>
                </a:lnTo>
                <a:lnTo>
                  <a:pt x="844" y="1713"/>
                </a:lnTo>
                <a:close/>
                <a:moveTo>
                  <a:pt x="844" y="1970"/>
                </a:moveTo>
                <a:lnTo>
                  <a:pt x="918" y="2056"/>
                </a:lnTo>
                <a:lnTo>
                  <a:pt x="844" y="2130"/>
                </a:lnTo>
                <a:lnTo>
                  <a:pt x="844" y="1970"/>
                </a:lnTo>
                <a:close/>
                <a:moveTo>
                  <a:pt x="844" y="2227"/>
                </a:moveTo>
                <a:lnTo>
                  <a:pt x="918" y="2313"/>
                </a:lnTo>
                <a:lnTo>
                  <a:pt x="844" y="2387"/>
                </a:lnTo>
                <a:lnTo>
                  <a:pt x="844" y="2227"/>
                </a:lnTo>
                <a:close/>
                <a:moveTo>
                  <a:pt x="844" y="2484"/>
                </a:moveTo>
                <a:lnTo>
                  <a:pt x="918" y="2570"/>
                </a:lnTo>
                <a:lnTo>
                  <a:pt x="844" y="2644"/>
                </a:lnTo>
                <a:lnTo>
                  <a:pt x="844" y="2484"/>
                </a:lnTo>
                <a:close/>
                <a:moveTo>
                  <a:pt x="844" y="2692"/>
                </a:moveTo>
                <a:lnTo>
                  <a:pt x="942" y="2595"/>
                </a:lnTo>
                <a:lnTo>
                  <a:pt x="1052" y="2705"/>
                </a:lnTo>
                <a:lnTo>
                  <a:pt x="1052" y="2705"/>
                </a:lnTo>
                <a:lnTo>
                  <a:pt x="1052" y="2729"/>
                </a:lnTo>
                <a:lnTo>
                  <a:pt x="844" y="2729"/>
                </a:lnTo>
                <a:lnTo>
                  <a:pt x="844" y="2692"/>
                </a:lnTo>
                <a:close/>
                <a:moveTo>
                  <a:pt x="844" y="2815"/>
                </a:moveTo>
                <a:lnTo>
                  <a:pt x="918" y="2888"/>
                </a:lnTo>
                <a:lnTo>
                  <a:pt x="844" y="2974"/>
                </a:lnTo>
                <a:lnTo>
                  <a:pt x="844" y="2815"/>
                </a:lnTo>
                <a:close/>
                <a:moveTo>
                  <a:pt x="844" y="3072"/>
                </a:moveTo>
                <a:lnTo>
                  <a:pt x="918" y="3145"/>
                </a:lnTo>
                <a:lnTo>
                  <a:pt x="844" y="3231"/>
                </a:lnTo>
                <a:lnTo>
                  <a:pt x="844" y="3072"/>
                </a:lnTo>
                <a:close/>
                <a:moveTo>
                  <a:pt x="844" y="3329"/>
                </a:moveTo>
                <a:lnTo>
                  <a:pt x="918" y="3402"/>
                </a:lnTo>
                <a:lnTo>
                  <a:pt x="844" y="3488"/>
                </a:lnTo>
                <a:lnTo>
                  <a:pt x="844" y="3329"/>
                </a:lnTo>
                <a:close/>
                <a:moveTo>
                  <a:pt x="844" y="3586"/>
                </a:moveTo>
                <a:lnTo>
                  <a:pt x="918" y="3659"/>
                </a:lnTo>
                <a:lnTo>
                  <a:pt x="844" y="3745"/>
                </a:lnTo>
                <a:lnTo>
                  <a:pt x="844" y="3586"/>
                </a:lnTo>
                <a:close/>
                <a:moveTo>
                  <a:pt x="281" y="673"/>
                </a:moveTo>
                <a:lnTo>
                  <a:pt x="306" y="673"/>
                </a:lnTo>
                <a:lnTo>
                  <a:pt x="281" y="710"/>
                </a:lnTo>
                <a:lnTo>
                  <a:pt x="281" y="673"/>
                </a:lnTo>
                <a:close/>
                <a:moveTo>
                  <a:pt x="281" y="808"/>
                </a:moveTo>
                <a:lnTo>
                  <a:pt x="281" y="771"/>
                </a:lnTo>
                <a:lnTo>
                  <a:pt x="318" y="808"/>
                </a:lnTo>
                <a:lnTo>
                  <a:pt x="281" y="808"/>
                </a:lnTo>
                <a:close/>
                <a:moveTo>
                  <a:pt x="330" y="783"/>
                </a:moveTo>
                <a:lnTo>
                  <a:pt x="281" y="734"/>
                </a:lnTo>
                <a:lnTo>
                  <a:pt x="330" y="685"/>
                </a:lnTo>
                <a:lnTo>
                  <a:pt x="330" y="783"/>
                </a:lnTo>
                <a:close/>
                <a:moveTo>
                  <a:pt x="416" y="734"/>
                </a:moveTo>
                <a:lnTo>
                  <a:pt x="367" y="783"/>
                </a:lnTo>
                <a:lnTo>
                  <a:pt x="367" y="685"/>
                </a:lnTo>
                <a:lnTo>
                  <a:pt x="416" y="734"/>
                </a:lnTo>
                <a:close/>
                <a:moveTo>
                  <a:pt x="379" y="673"/>
                </a:moveTo>
                <a:lnTo>
                  <a:pt x="477" y="673"/>
                </a:lnTo>
                <a:lnTo>
                  <a:pt x="428" y="722"/>
                </a:lnTo>
                <a:lnTo>
                  <a:pt x="379" y="673"/>
                </a:lnTo>
                <a:close/>
                <a:moveTo>
                  <a:pt x="367" y="808"/>
                </a:moveTo>
                <a:lnTo>
                  <a:pt x="428" y="747"/>
                </a:lnTo>
                <a:lnTo>
                  <a:pt x="477" y="808"/>
                </a:lnTo>
                <a:lnTo>
                  <a:pt x="367" y="808"/>
                </a:lnTo>
                <a:close/>
                <a:moveTo>
                  <a:pt x="489" y="783"/>
                </a:moveTo>
                <a:lnTo>
                  <a:pt x="440" y="734"/>
                </a:lnTo>
                <a:lnTo>
                  <a:pt x="489" y="685"/>
                </a:lnTo>
                <a:lnTo>
                  <a:pt x="489" y="783"/>
                </a:lnTo>
                <a:close/>
                <a:moveTo>
                  <a:pt x="575" y="734"/>
                </a:moveTo>
                <a:lnTo>
                  <a:pt x="526" y="783"/>
                </a:lnTo>
                <a:lnTo>
                  <a:pt x="526" y="685"/>
                </a:lnTo>
                <a:lnTo>
                  <a:pt x="575" y="734"/>
                </a:lnTo>
                <a:close/>
                <a:moveTo>
                  <a:pt x="538" y="673"/>
                </a:moveTo>
                <a:lnTo>
                  <a:pt x="648" y="673"/>
                </a:lnTo>
                <a:lnTo>
                  <a:pt x="587" y="722"/>
                </a:lnTo>
                <a:lnTo>
                  <a:pt x="538" y="673"/>
                </a:lnTo>
                <a:close/>
                <a:moveTo>
                  <a:pt x="538" y="808"/>
                </a:moveTo>
                <a:lnTo>
                  <a:pt x="587" y="747"/>
                </a:lnTo>
                <a:lnTo>
                  <a:pt x="648" y="808"/>
                </a:lnTo>
                <a:lnTo>
                  <a:pt x="538" y="808"/>
                </a:lnTo>
                <a:close/>
                <a:moveTo>
                  <a:pt x="661" y="783"/>
                </a:moveTo>
                <a:lnTo>
                  <a:pt x="612" y="734"/>
                </a:lnTo>
                <a:lnTo>
                  <a:pt x="661" y="685"/>
                </a:lnTo>
                <a:lnTo>
                  <a:pt x="661" y="783"/>
                </a:lnTo>
                <a:close/>
                <a:moveTo>
                  <a:pt x="771" y="808"/>
                </a:moveTo>
                <a:lnTo>
                  <a:pt x="697" y="808"/>
                </a:lnTo>
                <a:lnTo>
                  <a:pt x="759" y="747"/>
                </a:lnTo>
                <a:lnTo>
                  <a:pt x="771" y="771"/>
                </a:lnTo>
                <a:lnTo>
                  <a:pt x="771" y="808"/>
                </a:lnTo>
                <a:close/>
                <a:moveTo>
                  <a:pt x="697" y="783"/>
                </a:moveTo>
                <a:lnTo>
                  <a:pt x="697" y="685"/>
                </a:lnTo>
                <a:lnTo>
                  <a:pt x="746" y="734"/>
                </a:lnTo>
                <a:lnTo>
                  <a:pt x="697" y="783"/>
                </a:lnTo>
                <a:close/>
                <a:moveTo>
                  <a:pt x="771" y="698"/>
                </a:moveTo>
                <a:lnTo>
                  <a:pt x="759" y="722"/>
                </a:lnTo>
                <a:lnTo>
                  <a:pt x="710" y="673"/>
                </a:lnTo>
                <a:lnTo>
                  <a:pt x="771" y="673"/>
                </a:lnTo>
                <a:lnTo>
                  <a:pt x="771" y="698"/>
                </a:lnTo>
                <a:close/>
                <a:moveTo>
                  <a:pt x="771" y="551"/>
                </a:moveTo>
                <a:lnTo>
                  <a:pt x="771" y="636"/>
                </a:lnTo>
                <a:lnTo>
                  <a:pt x="697" y="636"/>
                </a:lnTo>
                <a:lnTo>
                  <a:pt x="661" y="636"/>
                </a:lnTo>
                <a:lnTo>
                  <a:pt x="526" y="636"/>
                </a:lnTo>
                <a:lnTo>
                  <a:pt x="489" y="636"/>
                </a:lnTo>
                <a:lnTo>
                  <a:pt x="367" y="636"/>
                </a:lnTo>
                <a:lnTo>
                  <a:pt x="330" y="636"/>
                </a:lnTo>
                <a:lnTo>
                  <a:pt x="318" y="636"/>
                </a:lnTo>
                <a:lnTo>
                  <a:pt x="820" y="171"/>
                </a:lnTo>
                <a:lnTo>
                  <a:pt x="820" y="196"/>
                </a:lnTo>
                <a:lnTo>
                  <a:pt x="820" y="355"/>
                </a:lnTo>
                <a:lnTo>
                  <a:pt x="820" y="392"/>
                </a:lnTo>
                <a:lnTo>
                  <a:pt x="820" y="551"/>
                </a:lnTo>
                <a:lnTo>
                  <a:pt x="820" y="551"/>
                </a:lnTo>
                <a:lnTo>
                  <a:pt x="771" y="551"/>
                </a:lnTo>
                <a:close/>
                <a:moveTo>
                  <a:pt x="844" y="3794"/>
                </a:moveTo>
                <a:lnTo>
                  <a:pt x="942" y="3684"/>
                </a:lnTo>
                <a:lnTo>
                  <a:pt x="1052" y="3794"/>
                </a:lnTo>
                <a:lnTo>
                  <a:pt x="1052" y="3794"/>
                </a:lnTo>
                <a:lnTo>
                  <a:pt x="1052" y="3818"/>
                </a:lnTo>
                <a:lnTo>
                  <a:pt x="844" y="3818"/>
                </a:lnTo>
                <a:lnTo>
                  <a:pt x="844" y="3794"/>
                </a:lnTo>
                <a:close/>
              </a:path>
            </a:pathLst>
          </a:custGeom>
          <a:solidFill>
            <a:srgbClr val="63666A"/>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42810386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a:t>Advanced graphics timesaver</a:t>
            </a:r>
          </a:p>
          <a:p>
            <a:pPr lvl="0"/>
            <a:endParaRPr lang="en-US"/>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4216582341"/>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GB" noProof="0"/>
              <a:t>Click to edit Master text styles</a:t>
            </a:r>
            <a:endParaRPr lang="en-GB"/>
          </a:p>
        </p:txBody>
      </p:sp>
      <p:sp>
        <p:nvSpPr>
          <p:cNvPr id="10" name="TextBox 9">
            <a:extLst>
              <a:ext uri="{FF2B5EF4-FFF2-40B4-BE49-F238E27FC236}">
                <a16:creationId xmlns:a16="http://schemas.microsoft.com/office/drawing/2014/main" id="{333F738A-34A4-42A9-80F5-60D069D206D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dirty="0">
              <a:solidFill>
                <a:schemeClr val="bg1"/>
              </a:solidFill>
              <a:latin typeface="Calibri" panose="020F0502020204030204" pitchFamily="34" charset="0"/>
              <a:cs typeface="Calibri" panose="020F0502020204030204" pitchFamily="34" charset="0"/>
            </a:endParaRPr>
          </a:p>
        </p:txBody>
      </p:sp>
      <p:sp>
        <p:nvSpPr>
          <p:cNvPr id="11" name="text title" descr="{&quot;templafy&quot;:{&quot;id&quot;:&quot;b4562b01-78bb-43e9-a23e-1a19f3290c3f&quot;}}" title="Form.PresentationTitle">
            <a:extLst>
              <a:ext uri="{FF2B5EF4-FFF2-40B4-BE49-F238E27FC236}">
                <a16:creationId xmlns:a16="http://schemas.microsoft.com/office/drawing/2014/main" id="{043C3A44-8D0A-433C-898F-3D9320B4ABFA}"/>
              </a:ext>
            </a:extLst>
          </p:cNvPr>
          <p:cNvSpPr/>
          <p:nvPr userDrawn="1"/>
        </p:nvSpPr>
        <p:spPr bwMode="gray">
          <a:xfrm>
            <a:off x="7727951" y="6476999"/>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Tompkins Wake Sharing Session</a:t>
            </a:r>
          </a:p>
        </p:txBody>
      </p:sp>
      <p:sp>
        <p:nvSpPr>
          <p:cNvPr id="12" name="text class" descr="{&quot;templafy&quot;:{&quot;id&quot;:&quot;7cc2bb60-4cff-4f85-b1ce-d9c8fe9540f8&quot;}}" title="Form.Confidential.ClassificationInsertText">
            <a:extLst>
              <a:ext uri="{FF2B5EF4-FFF2-40B4-BE49-F238E27FC236}">
                <a16:creationId xmlns:a16="http://schemas.microsoft.com/office/drawing/2014/main" id="{194D112F-D6B9-459C-9EFC-BDC897FCD2ED}"/>
              </a:ext>
            </a:extLst>
          </p:cNvPr>
          <p:cNvSpPr/>
          <p:nvPr userDrawn="1"/>
        </p:nvSpPr>
        <p:spPr bwMode="gray">
          <a:xfrm>
            <a:off x="9738302" y="6476999"/>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CONFIDENTIAL</a:t>
            </a:r>
          </a:p>
        </p:txBody>
      </p:sp>
      <p:sp>
        <p:nvSpPr>
          <p:cNvPr id="13" name="Rectangle 12">
            <a:extLst>
              <a:ext uri="{FF2B5EF4-FFF2-40B4-BE49-F238E27FC236}">
                <a16:creationId xmlns:a16="http://schemas.microsoft.com/office/drawing/2014/main" id="{CC69CE09-A3DD-4D09-AA5A-6447C56BBD39}"/>
              </a:ext>
            </a:extLst>
          </p:cNvPr>
          <p:cNvSpPr/>
          <p:nvPr userDrawn="1"/>
        </p:nvSpPr>
        <p:spPr bwMode="gray">
          <a:xfrm>
            <a:off x="9680361" y="6500399"/>
            <a:ext cx="10800" cy="972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4" name="text Copyright" descr="{&quot;templafy&quot;:{&quot;id&quot;:&quot;e1d74659-657d-4049-8c75-c195f673b86c&quot;}}" title="UserProfile.LegalEntity.Copyright">
            <a:extLst>
              <a:ext uri="{FF2B5EF4-FFF2-40B4-BE49-F238E27FC236}">
                <a16:creationId xmlns:a16="http://schemas.microsoft.com/office/drawing/2014/main" id="{077B9EB3-8CCE-4A21-B540-497AAC7F64EA}"/>
              </a:ext>
            </a:extLst>
          </p:cNvPr>
          <p:cNvSpPr/>
          <p:nvPr userDrawn="1"/>
        </p:nvSpPr>
        <p:spPr bwMode="gray">
          <a:xfrm>
            <a:off x="501649" y="6476999"/>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 2022. For information, contact Deloitte Touche Tohmatsu Limited.</a:t>
            </a:r>
          </a:p>
        </p:txBody>
      </p:sp>
    </p:spTree>
    <p:extLst>
      <p:ext uri="{BB962C8B-B14F-4D97-AF65-F5344CB8AC3E}">
        <p14:creationId xmlns:p14="http://schemas.microsoft.com/office/powerpoint/2010/main" val="326986547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a:t>Click to edit Master text styles</a:t>
            </a:r>
            <a:endParaRPr lang="en-GB"/>
          </a:p>
        </p:txBody>
      </p:sp>
    </p:spTree>
    <p:extLst>
      <p:ext uri="{BB962C8B-B14F-4D97-AF65-F5344CB8AC3E}">
        <p14:creationId xmlns:p14="http://schemas.microsoft.com/office/powerpoint/2010/main" val="470022767"/>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2.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2.xml"/><Relationship Id="rId7" Type="http://schemas.openxmlformats.org/officeDocument/2006/relationships/tags" Target="../tags/tag2.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theme" Target="../theme/theme3.xml"/><Relationship Id="rId5" Type="http://schemas.openxmlformats.org/officeDocument/2006/relationships/slideLayout" Target="../slideLayouts/slideLayout74.xml"/><Relationship Id="rId4" Type="http://schemas.openxmlformats.org/officeDocument/2006/relationships/slideLayout" Target="../slideLayouts/slideLayout7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7"/>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8" imgW="270" imgH="270" progId="TCLayout.ActiveDocument.1">
                  <p:embed/>
                </p:oleObj>
              </mc:Choice>
              <mc:Fallback>
                <p:oleObj name="think-cell Slide" r:id="rId58" imgW="270" imgH="270" progId="TCLayout.ActiveDocument.1">
                  <p:embed/>
                  <p:pic>
                    <p:nvPicPr>
                      <p:cNvPr id="4" name="Object 3" hidden="1"/>
                      <p:cNvPicPr/>
                      <p:nvPr/>
                    </p:nvPicPr>
                    <p:blipFill>
                      <a:blip r:embed="rId5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GB" noProof="0"/>
              <a:t>Click to edit Master title style</a:t>
            </a:r>
            <a:endParaRPr lang="en-GB"/>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5" name="TextBox 4">
            <a:extLst>
              <a:ext uri="{FF2B5EF4-FFF2-40B4-BE49-F238E27FC236}">
                <a16:creationId xmlns:a16="http://schemas.microsoft.com/office/drawing/2014/main" id="{F7E5B597-8D26-1E6A-8E8C-DF82D428EF43}"/>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a:t>
            </a:r>
            <a:fld id="{4A4184B5-0143-457E-906C-76BDD32DF4EA}" type="datetimeyyyy">
              <a:rPr lang="en-US" sz="900" noProof="0" smtClean="0">
                <a:solidFill>
                  <a:schemeClr val="bg1"/>
                </a:solidFill>
                <a:latin typeface="Calibri" panose="020F0502020204030204" pitchFamily="34" charset="0"/>
                <a:cs typeface="Calibri" panose="020F0502020204030204" pitchFamily="34" charset="0"/>
              </a:rPr>
              <a:t>2023</a:t>
            </a:fld>
            <a:r>
              <a:rPr lang="en-US" sz="900" noProof="0" dirty="0">
                <a:solidFill>
                  <a:schemeClr val="bg1"/>
                </a:solidFill>
                <a:latin typeface="Calibri" panose="020F0502020204030204" pitchFamily="34" charset="0"/>
                <a:cs typeface="Calibri" panose="020F0502020204030204" pitchFamily="34" charset="0"/>
              </a:rPr>
              <a:t>. For information, contact Deloitte Global</a:t>
            </a:r>
          </a:p>
        </p:txBody>
      </p:sp>
      <p:sp>
        <p:nvSpPr>
          <p:cNvPr id="6" name="TextBox 5">
            <a:extLst>
              <a:ext uri="{FF2B5EF4-FFF2-40B4-BE49-F238E27FC236}">
                <a16:creationId xmlns:a16="http://schemas.microsoft.com/office/drawing/2014/main" id="{1631F6F7-3123-1FE3-31FB-673D1AE6CE5F}"/>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ILANZ Conference 2023</a:t>
            </a:r>
          </a:p>
        </p:txBody>
      </p:sp>
      <p:sp>
        <p:nvSpPr>
          <p:cNvPr id="7" name="TextBox 6">
            <a:extLst>
              <a:ext uri="{FF2B5EF4-FFF2-40B4-BE49-F238E27FC236}">
                <a16:creationId xmlns:a16="http://schemas.microsoft.com/office/drawing/2014/main" id="{2F142466-2EDA-3532-A3DF-6D5E526A191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1931596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 id="2147483708" r:id="rId35"/>
    <p:sldLayoutId id="2147483709" r:id="rId36"/>
    <p:sldLayoutId id="2147483710" r:id="rId37"/>
    <p:sldLayoutId id="2147483711" r:id="rId38"/>
    <p:sldLayoutId id="2147483712" r:id="rId39"/>
    <p:sldLayoutId id="2147483713" r:id="rId40"/>
    <p:sldLayoutId id="2147483714" r:id="rId41"/>
    <p:sldLayoutId id="2147483715" r:id="rId42"/>
    <p:sldLayoutId id="2147483716" r:id="rId43"/>
    <p:sldLayoutId id="2147483717" r:id="rId44"/>
    <p:sldLayoutId id="2147483718" r:id="rId45"/>
    <p:sldLayoutId id="2147483719" r:id="rId46"/>
    <p:sldLayoutId id="2147483720" r:id="rId47"/>
    <p:sldLayoutId id="2147483721" r:id="rId48"/>
    <p:sldLayoutId id="2147483722" r:id="rId49"/>
    <p:sldLayoutId id="2147483723" r:id="rId50"/>
    <p:sldLayoutId id="2147483724" r:id="rId51"/>
    <p:sldLayoutId id="2147483725" r:id="rId52"/>
    <p:sldLayoutId id="2147483726" r:id="rId53"/>
    <p:sldLayoutId id="2147483727" r:id="rId54"/>
    <p:sldLayoutId id="2147483728" r:id="rId55"/>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44" pos="5098">
          <p15:clr>
            <a:srgbClr val="F26B43"/>
          </p15:clr>
        </p15:guide>
        <p15:guide id="45" orient="horz" pos="2160">
          <p15:clr>
            <a:srgbClr val="F26B43"/>
          </p15:clr>
        </p15:guide>
        <p15:guide id="46" orient="horz" pos="3968">
          <p15:clr>
            <a:srgbClr val="F26B43"/>
          </p15:clr>
        </p15:guide>
        <p15:guide id="47" pos="312">
          <p15:clr>
            <a:srgbClr val="F26B43"/>
          </p15:clr>
        </p15:guide>
        <p15:guide id="48" pos="7368">
          <p15:clr>
            <a:srgbClr val="F26B43"/>
          </p15:clr>
        </p15:guide>
        <p15:guide id="49" orient="horz" pos="245">
          <p15:clr>
            <a:srgbClr val="F26B43"/>
          </p15:clr>
        </p15:guide>
        <p15:guide id="50" orient="horz" pos="4081">
          <p15:clr>
            <a:srgbClr val="F26B43"/>
          </p15:clr>
        </p15:guide>
        <p15:guide id="51" pos="4986">
          <p15:clr>
            <a:srgbClr val="F26B43"/>
          </p15:clr>
        </p15:guide>
        <p15:guide id="52" pos="1382">
          <p15:clr>
            <a:srgbClr val="F26B43"/>
          </p15:clr>
        </p15:guide>
        <p15:guide id="53" pos="1496">
          <p15:clr>
            <a:srgbClr val="F26B43"/>
          </p15:clr>
        </p15:guide>
        <p15:guide id="54" pos="2581">
          <p15:clr>
            <a:srgbClr val="F26B43"/>
          </p15:clr>
        </p15:guide>
        <p15:guide id="55" pos="2695">
          <p15:clr>
            <a:srgbClr val="F26B43"/>
          </p15:clr>
        </p15:guide>
        <p15:guide id="56" pos="6185">
          <p15:clr>
            <a:srgbClr val="F26B43"/>
          </p15:clr>
        </p15:guide>
        <p15:guide id="57" pos="3783">
          <p15:clr>
            <a:srgbClr val="F26B43"/>
          </p15:clr>
        </p15:guide>
        <p15:guide id="58" pos="3896">
          <p15:clr>
            <a:srgbClr val="F26B43"/>
          </p15:clr>
        </p15:guide>
        <p15:guide id="59" pos="3840">
          <p15:clr>
            <a:srgbClr val="F26B43"/>
          </p15:clr>
        </p15:guide>
        <p15:guide id="60" pos="6299">
          <p15:clr>
            <a:srgbClr val="F26B43"/>
          </p15:clr>
        </p15:guide>
        <p15:guide id="61" orient="horz" pos="1049">
          <p15:clr>
            <a:srgbClr val="F26B43"/>
          </p15:clr>
        </p15:guide>
        <p15:guide id="62" orient="horz" pos="641">
          <p15:clr>
            <a:srgbClr val="F26B43"/>
          </p15:clr>
        </p15:guide>
        <p15:guide id="6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A6040D-A7BC-23F1-17D4-C69E3F8607C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NZ"/>
          </a:p>
        </p:txBody>
      </p:sp>
      <p:sp>
        <p:nvSpPr>
          <p:cNvPr id="3" name="Text Placeholder 2">
            <a:extLst>
              <a:ext uri="{FF2B5EF4-FFF2-40B4-BE49-F238E27FC236}">
                <a16:creationId xmlns:a16="http://schemas.microsoft.com/office/drawing/2014/main" id="{89402A29-27C6-3A70-6DBE-5D141F3188B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Date Placeholder 3">
            <a:extLst>
              <a:ext uri="{FF2B5EF4-FFF2-40B4-BE49-F238E27FC236}">
                <a16:creationId xmlns:a16="http://schemas.microsoft.com/office/drawing/2014/main" id="{A13742D2-E1FD-6CB2-8337-E48C3556DE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154FFB-A72F-44A7-8D57-5AB32CBF8E8B}" type="datetimeFigureOut">
              <a:rPr lang="en-NZ" smtClean="0"/>
              <a:t>25/07/2023</a:t>
            </a:fld>
            <a:endParaRPr lang="en-NZ" dirty="0"/>
          </a:p>
        </p:txBody>
      </p:sp>
      <p:sp>
        <p:nvSpPr>
          <p:cNvPr id="5" name="Footer Placeholder 4">
            <a:extLst>
              <a:ext uri="{FF2B5EF4-FFF2-40B4-BE49-F238E27FC236}">
                <a16:creationId xmlns:a16="http://schemas.microsoft.com/office/drawing/2014/main" id="{B2508F52-56AB-07C2-F933-0D54F7AC50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Z" dirty="0"/>
          </a:p>
        </p:txBody>
      </p:sp>
      <p:sp>
        <p:nvSpPr>
          <p:cNvPr id="6" name="Slide Number Placeholder 5">
            <a:extLst>
              <a:ext uri="{FF2B5EF4-FFF2-40B4-BE49-F238E27FC236}">
                <a16:creationId xmlns:a16="http://schemas.microsoft.com/office/drawing/2014/main" id="{64F27381-82E0-4A44-01D0-9C1C0494FD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AF9537-8698-41F3-952B-B1F47C86E1D9}" type="slidenum">
              <a:rPr lang="en-NZ" smtClean="0"/>
              <a:t>‹#›</a:t>
            </a:fld>
            <a:endParaRPr lang="en-NZ" dirty="0"/>
          </a:p>
        </p:txBody>
      </p:sp>
      <p:sp>
        <p:nvSpPr>
          <p:cNvPr id="7" name="TextBox 6">
            <a:extLst>
              <a:ext uri="{FF2B5EF4-FFF2-40B4-BE49-F238E27FC236}">
                <a16:creationId xmlns:a16="http://schemas.microsoft.com/office/drawing/2014/main" id="{6EE29BFB-2DA1-FAD2-7BA5-0D98966FE671}"/>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a:t>
            </a:r>
            <a:fld id="{4A4184B5-0143-457E-906C-76BDD32DF4EA}" type="datetimeyyyy">
              <a:rPr lang="en-US" sz="900" noProof="0" smtClean="0">
                <a:solidFill>
                  <a:schemeClr val="bg1"/>
                </a:solidFill>
                <a:latin typeface="Calibri" panose="020F0502020204030204" pitchFamily="34" charset="0"/>
                <a:cs typeface="Calibri" panose="020F0502020204030204" pitchFamily="34" charset="0"/>
              </a:rPr>
              <a:t>2023</a:t>
            </a:fld>
            <a:r>
              <a:rPr lang="en-US" sz="900" noProof="0" dirty="0">
                <a:solidFill>
                  <a:schemeClr val="bg1"/>
                </a:solidFill>
                <a:latin typeface="Calibri" panose="020F0502020204030204" pitchFamily="34" charset="0"/>
                <a:cs typeface="Calibri" panose="020F0502020204030204" pitchFamily="34" charset="0"/>
              </a:rPr>
              <a:t>. For information, contact Deloitte Global</a:t>
            </a:r>
          </a:p>
        </p:txBody>
      </p:sp>
      <p:sp>
        <p:nvSpPr>
          <p:cNvPr id="8" name="TextBox 7">
            <a:extLst>
              <a:ext uri="{FF2B5EF4-FFF2-40B4-BE49-F238E27FC236}">
                <a16:creationId xmlns:a16="http://schemas.microsoft.com/office/drawing/2014/main" id="{10DAFD76-3F0C-D891-F026-CCC349D9EE81}"/>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ILANZ Conference 2023</a:t>
            </a:r>
          </a:p>
        </p:txBody>
      </p:sp>
      <p:sp>
        <p:nvSpPr>
          <p:cNvPr id="9" name="TextBox 8">
            <a:extLst>
              <a:ext uri="{FF2B5EF4-FFF2-40B4-BE49-F238E27FC236}">
                <a16:creationId xmlns:a16="http://schemas.microsoft.com/office/drawing/2014/main" id="{BD86EB72-F6FB-FFEB-C8B7-C8FD84935A7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955533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71" r:id="rId13"/>
    <p:sldLayoutId id="2147483729"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9" name="TextBox 8">
            <a:extLst>
              <a:ext uri="{FF2B5EF4-FFF2-40B4-BE49-F238E27FC236}">
                <a16:creationId xmlns:a16="http://schemas.microsoft.com/office/drawing/2014/main" id="{0577D2A3-6C5A-2444-AA59-749218F7F4E0}"/>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a:t>
            </a:r>
            <a:fld id="{A1ABD1AF-8A28-48DE-A02D-928C2F3EA249}" type="datetimeyyyy">
              <a:rPr lang="en-US" sz="900" noProof="0" smtClean="0">
                <a:solidFill>
                  <a:schemeClr val="bg1"/>
                </a:solidFill>
                <a:latin typeface="Calibri" panose="020F0502020204030204" pitchFamily="34" charset="0"/>
                <a:cs typeface="Calibri" panose="020F0502020204030204" pitchFamily="34" charset="0"/>
              </a:rPr>
              <a:t>2023</a:t>
            </a:fld>
            <a:r>
              <a:rPr lang="en-US" sz="900" noProof="0" dirty="0">
                <a:solidFill>
                  <a:schemeClr val="bg1"/>
                </a:solidFill>
                <a:latin typeface="Calibri" panose="020F0502020204030204" pitchFamily="34" charset="0"/>
                <a:cs typeface="Calibri" panose="020F0502020204030204" pitchFamily="34" charset="0"/>
              </a:rPr>
              <a:t>. For information, contact Deloitte Global</a:t>
            </a:r>
          </a:p>
        </p:txBody>
      </p:sp>
      <p:sp>
        <p:nvSpPr>
          <p:cNvPr id="10" name="TextBox 9">
            <a:extLst>
              <a:ext uri="{FF2B5EF4-FFF2-40B4-BE49-F238E27FC236}">
                <a16:creationId xmlns:a16="http://schemas.microsoft.com/office/drawing/2014/main" id="{00C86A3D-99F6-5145-AAE2-E4DCFB9A8B86}"/>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ILANZ Conference 2023</a:t>
            </a:r>
          </a:p>
        </p:txBody>
      </p:sp>
      <p:sp>
        <p:nvSpPr>
          <p:cNvPr id="11" name="TextBox 10">
            <a:extLst>
              <a:ext uri="{FF2B5EF4-FFF2-40B4-BE49-F238E27FC236}">
                <a16:creationId xmlns:a16="http://schemas.microsoft.com/office/drawing/2014/main" id="{CC403D44-5C3F-9E42-A9BF-3F2D6C6B851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5837760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7" r:id="rId4"/>
    <p:sldLayoutId id="2147483668" r:id="rId5"/>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0.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6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4.xml"/><Relationship Id="rId1" Type="http://schemas.openxmlformats.org/officeDocument/2006/relationships/customXml" Target="../../customXml/item1.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68.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4.xml"/><Relationship Id="rId1" Type="http://schemas.openxmlformats.org/officeDocument/2006/relationships/slideLayout" Target="../slideLayouts/slideLayout67.xml"/><Relationship Id="rId4" Type="http://schemas.openxmlformats.org/officeDocument/2006/relationships/image" Target="../media/image5.sv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7.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67.xml"/><Relationship Id="rId5" Type="http://schemas.openxmlformats.org/officeDocument/2006/relationships/image" Target="../media/image24.jpeg"/><Relationship Id="rId4" Type="http://schemas.openxmlformats.org/officeDocument/2006/relationships/image" Target="../media/image23.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7.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customXml" Target="../../customXml/item6.xml"/><Relationship Id="rId1" Type="http://schemas.openxmlformats.org/officeDocument/2006/relationships/customXml" Target="../../customXml/item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7.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7.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7.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67.xml"/><Relationship Id="rId4" Type="http://schemas.openxmlformats.org/officeDocument/2006/relationships/image" Target="../media/image5.sv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67.xml"/><Relationship Id="rId4" Type="http://schemas.openxmlformats.org/officeDocument/2006/relationships/image" Target="../media/image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327673-1413-4DDD-9B6F-FD99E249528C}"/>
              </a:ext>
            </a:extLst>
          </p:cNvPr>
          <p:cNvPicPr>
            <a:picLocks noChangeAspect="1"/>
          </p:cNvPicPr>
          <p:nvPr/>
        </p:nvPicPr>
        <p:blipFill>
          <a:blip r:embed="rId4"/>
          <a:srcRect/>
          <a:stretch/>
        </p:blipFill>
        <p:spPr>
          <a:xfrm>
            <a:off x="10694852" y="5659120"/>
            <a:ext cx="1198880" cy="1198880"/>
          </a:xfrm>
          <a:prstGeom prst="rect">
            <a:avLst/>
          </a:prstGeom>
        </p:spPr>
      </p:pic>
      <p:sp>
        <p:nvSpPr>
          <p:cNvPr id="9" name="Title 2">
            <a:extLst>
              <a:ext uri="{FF2B5EF4-FFF2-40B4-BE49-F238E27FC236}">
                <a16:creationId xmlns:a16="http://schemas.microsoft.com/office/drawing/2014/main" id="{0BB0C0D3-0E6F-764F-ADFD-A1A8DF9DCF8E}"/>
              </a:ext>
            </a:extLst>
          </p:cNvPr>
          <p:cNvSpPr txBox="1">
            <a:spLocks/>
          </p:cNvSpPr>
          <p:nvPr/>
        </p:nvSpPr>
        <p:spPr bwMode="gray">
          <a:xfrm>
            <a:off x="501651" y="5186207"/>
            <a:ext cx="5689829" cy="895983"/>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marL="0" marR="0" lvl="0" indent="0" algn="l" defTabSz="685800" rtl="0" eaLnBrk="1" fontAlgn="auto" latinLnBrk="0" hangingPunct="1">
              <a:lnSpc>
                <a:spcPts val="3200"/>
              </a:lnSpc>
              <a:spcBef>
                <a:spcPct val="0"/>
              </a:spcBef>
              <a:spcAft>
                <a:spcPts val="0"/>
              </a:spcAft>
              <a:buClrTx/>
              <a:buSzTx/>
              <a:buFontTx/>
              <a:buNone/>
              <a:tabLst/>
              <a:defRPr/>
            </a:pPr>
            <a:r>
              <a:rPr kumimoji="0" lang="en-GB" sz="3200" b="0" i="0" u="none" strike="noStrike" kern="1200" cap="none" spc="0" normalizeH="0" baseline="0" noProof="0" dirty="0">
                <a:ln>
                  <a:noFill/>
                </a:ln>
                <a:solidFill>
                  <a:srgbClr val="86BC25"/>
                </a:solidFill>
                <a:effectLst/>
                <a:uLnTx/>
                <a:uFillTx/>
                <a:latin typeface="Calibri Light"/>
                <a:ea typeface="Open Sans"/>
                <a:cs typeface="Calibri Light"/>
              </a:rPr>
              <a:t>Working together to achieve success in </a:t>
            </a:r>
            <a:r>
              <a:rPr lang="en-GB" dirty="0">
                <a:solidFill>
                  <a:srgbClr val="86BC25"/>
                </a:solidFill>
                <a:latin typeface="Calibri Light"/>
                <a:ea typeface="Open Sans"/>
                <a:cs typeface="Calibri Light"/>
              </a:rPr>
              <a:t>remediation</a:t>
            </a:r>
            <a:br>
              <a:rPr lang="en-GB" sz="3200" b="0" i="0" u="none" strike="noStrike" kern="1200" cap="none" spc="0" normalizeH="0" baseline="0" noProof="0" dirty="0">
                <a:ln>
                  <a:noFill/>
                </a:ln>
                <a:effectLst/>
                <a:uLnTx/>
                <a:uFillTx/>
                <a:latin typeface="Calibri Light" panose="020F0302020204030204" pitchFamily="34" charset="0"/>
                <a:ea typeface="Open Sans" panose="020B0606030504020204" pitchFamily="34" charset="0"/>
                <a:cs typeface="Calibri Light" panose="020F0302020204030204" pitchFamily="34" charset="0"/>
              </a:rPr>
            </a:br>
            <a:r>
              <a:rPr kumimoji="0" lang="en-US" sz="1600" b="0" i="0" u="none" strike="noStrike" kern="1200" cap="none" spc="0" normalizeH="0" baseline="0" noProof="0" dirty="0">
                <a:ln>
                  <a:noFill/>
                </a:ln>
                <a:solidFill>
                  <a:schemeClr val="bg1"/>
                </a:solidFill>
                <a:effectLst/>
                <a:uLnTx/>
                <a:uFillTx/>
                <a:latin typeface="Calibri Light"/>
                <a:ea typeface="Open Sans"/>
                <a:cs typeface="Calibri Light"/>
              </a:rPr>
              <a:t>Jason Weir, Catherine Davidson, Nadia Ali</a:t>
            </a:r>
            <a:endParaRPr kumimoji="0" lang="en-GB" sz="2800" b="0" i="0" u="none" strike="noStrike" kern="1200" cap="none" spc="0" normalizeH="0" baseline="0" noProof="0" dirty="0">
              <a:ln>
                <a:noFill/>
              </a:ln>
              <a:solidFill>
                <a:schemeClr val="bg1"/>
              </a:solidFill>
              <a:effectLst/>
              <a:uLnTx/>
              <a:uFillTx/>
              <a:latin typeface="Calibri Light"/>
              <a:ea typeface="Open Sans"/>
              <a:cs typeface="Calibri Light"/>
            </a:endParaRPr>
          </a:p>
        </p:txBody>
      </p:sp>
      <p:sp>
        <p:nvSpPr>
          <p:cNvPr id="10" name="Text Placeholder 4">
            <a:extLst>
              <a:ext uri="{FF2B5EF4-FFF2-40B4-BE49-F238E27FC236}">
                <a16:creationId xmlns:a16="http://schemas.microsoft.com/office/drawing/2014/main" id="{6E62AF7C-D11A-9D40-92E3-A706C56E95D6}"/>
              </a:ext>
            </a:extLst>
          </p:cNvPr>
          <p:cNvSpPr txBox="1">
            <a:spLocks/>
          </p:cNvSpPr>
          <p:nvPr/>
        </p:nvSpPr>
        <p:spPr>
          <a:xfrm>
            <a:off x="501651" y="6245225"/>
            <a:ext cx="4446269" cy="273050"/>
          </a:xfrm>
          <a:prstGeom prst="rect">
            <a:avLst/>
          </a:prstGeom>
        </p:spPr>
        <p:txBody>
          <a:bodyPr vert="horz" lIns="0" tIns="0" rIns="0" bIns="0" rtlCol="0" anchor="t">
            <a:noAutofit/>
          </a:bodyPr>
          <a:lstStyle>
            <a:lvl1pPr marL="0" indent="0" algn="l" defTabSz="6858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bg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kumimoji="0" lang="en-GB" sz="1400" b="0" i="0" u="none" strike="noStrike" kern="1200"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ILANZ Conference July 2023</a:t>
            </a:r>
          </a:p>
        </p:txBody>
      </p:sp>
      <p:pic>
        <p:nvPicPr>
          <p:cNvPr id="17" name="Picture 16">
            <a:extLst>
              <a:ext uri="{FF2B5EF4-FFF2-40B4-BE49-F238E27FC236}">
                <a16:creationId xmlns:a16="http://schemas.microsoft.com/office/drawing/2014/main" id="{025D5513-8A1E-B449-A924-1FE6AD638960}"/>
              </a:ext>
            </a:extLst>
          </p:cNvPr>
          <p:cNvPicPr>
            <a:picLocks noChangeAspect="1"/>
          </p:cNvPicPr>
          <p:nvPr/>
        </p:nvPicPr>
        <p:blipFill>
          <a:blip r:embed="rId5"/>
          <a:stretch>
            <a:fillRect/>
          </a:stretch>
        </p:blipFill>
        <p:spPr>
          <a:xfrm>
            <a:off x="4281448" y="1257543"/>
            <a:ext cx="3629104" cy="3629104"/>
          </a:xfrm>
          <a:prstGeom prst="rect">
            <a:avLst/>
          </a:prstGeom>
        </p:spPr>
      </p:pic>
    </p:spTree>
    <p:custDataLst>
      <p:tags r:id="rId1"/>
    </p:custDataLst>
    <p:extLst>
      <p:ext uri="{BB962C8B-B14F-4D97-AF65-F5344CB8AC3E}">
        <p14:creationId xmlns:p14="http://schemas.microsoft.com/office/powerpoint/2010/main" val="181143772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505F85-3D42-0670-6F18-AA1B31AFA62D}"/>
              </a:ext>
            </a:extLst>
          </p:cNvPr>
          <p:cNvSpPr txBox="1"/>
          <p:nvPr/>
        </p:nvSpPr>
        <p:spPr>
          <a:xfrm>
            <a:off x="430550" y="323577"/>
            <a:ext cx="7248633" cy="461665"/>
          </a:xfrm>
          <a:prstGeom prst="rect">
            <a:avLst/>
          </a:prstGeom>
          <a:noFill/>
        </p:spPr>
        <p:txBody>
          <a:bodyPr wrap="square" rtlCol="0">
            <a:spAutoFit/>
          </a:bodyPr>
          <a:lstStyle/>
          <a:p>
            <a:r>
              <a:rPr lang="en-NZ" sz="2400" dirty="0">
                <a:solidFill>
                  <a:schemeClr val="bg1"/>
                </a:solidFill>
              </a:rPr>
              <a:t>Scope &amp; Contain | </a:t>
            </a:r>
            <a:r>
              <a:rPr lang="en-NZ" sz="2400" b="1" dirty="0">
                <a:solidFill>
                  <a:schemeClr val="bg1"/>
                </a:solidFill>
              </a:rPr>
              <a:t>Typical team construct</a:t>
            </a:r>
          </a:p>
        </p:txBody>
      </p:sp>
      <p:sp>
        <p:nvSpPr>
          <p:cNvPr id="2" name="Rectangle 1">
            <a:extLst>
              <a:ext uri="{FF2B5EF4-FFF2-40B4-BE49-F238E27FC236}">
                <a16:creationId xmlns:a16="http://schemas.microsoft.com/office/drawing/2014/main" id="{2A704624-2D2E-9003-29DA-D862B9864979}"/>
              </a:ext>
            </a:extLst>
          </p:cNvPr>
          <p:cNvSpPr/>
          <p:nvPr/>
        </p:nvSpPr>
        <p:spPr>
          <a:xfrm>
            <a:off x="430550" y="767923"/>
            <a:ext cx="10038667" cy="328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r>
              <a:rPr lang="en-NZ" dirty="0">
                <a:solidFill>
                  <a:schemeClr val="bg1">
                    <a:lumMod val="85000"/>
                  </a:schemeClr>
                </a:solidFill>
              </a:rPr>
              <a:t>A collaborative team of in-house and external specialists across a breadth of competencies</a:t>
            </a:r>
          </a:p>
        </p:txBody>
      </p:sp>
      <p:sp>
        <p:nvSpPr>
          <p:cNvPr id="38" name="Round Same Side Corner Rectangle 59">
            <a:extLst>
              <a:ext uri="{FF2B5EF4-FFF2-40B4-BE49-F238E27FC236}">
                <a16:creationId xmlns:a16="http://schemas.microsoft.com/office/drawing/2014/main" id="{AC3B3B3E-1657-C4EB-8AA5-11255F5DB7AF}"/>
              </a:ext>
            </a:extLst>
          </p:cNvPr>
          <p:cNvSpPr/>
          <p:nvPr/>
        </p:nvSpPr>
        <p:spPr>
          <a:xfrm>
            <a:off x="3004474" y="1825455"/>
            <a:ext cx="2013310" cy="530926"/>
          </a:xfrm>
          <a:prstGeom prst="round2SameRect">
            <a:avLst>
              <a:gd name="adj1" fmla="val 50000"/>
              <a:gd name="adj2" fmla="val 50000"/>
            </a:avLst>
          </a:prstGeom>
          <a:solidFill>
            <a:srgbClr val="005587"/>
          </a:solidFill>
          <a:ln w="25400" cap="flat" cmpd="sng" algn="ctr">
            <a:noFill/>
            <a:prstDash val="solid"/>
          </a:ln>
          <a:effectLst/>
        </p:spPr>
        <p:txBody>
          <a:bodyPr lIns="109710" tIns="54855" rIns="109710" bIns="54855" rtlCol="0" anchor="ctr"/>
          <a:lstStyle/>
          <a:p>
            <a:pPr algn="ctr"/>
            <a:r>
              <a:rPr lang="en-US" sz="1400" kern="0" dirty="0">
                <a:solidFill>
                  <a:prstClr val="white"/>
                </a:solidFill>
                <a:latin typeface="Calibri"/>
              </a:rPr>
              <a:t>In-house Legal</a:t>
            </a:r>
          </a:p>
        </p:txBody>
      </p:sp>
      <p:sp>
        <p:nvSpPr>
          <p:cNvPr id="39" name="Round Same Side Corner Rectangle 59">
            <a:extLst>
              <a:ext uri="{FF2B5EF4-FFF2-40B4-BE49-F238E27FC236}">
                <a16:creationId xmlns:a16="http://schemas.microsoft.com/office/drawing/2014/main" id="{B0B1CD90-53A2-5800-E7EF-A10E0C3F0D0B}"/>
              </a:ext>
            </a:extLst>
          </p:cNvPr>
          <p:cNvSpPr/>
          <p:nvPr/>
        </p:nvSpPr>
        <p:spPr>
          <a:xfrm>
            <a:off x="769647" y="1825455"/>
            <a:ext cx="2013310" cy="530926"/>
          </a:xfrm>
          <a:prstGeom prst="round2SameRect">
            <a:avLst>
              <a:gd name="adj1" fmla="val 50000"/>
              <a:gd name="adj2" fmla="val 50000"/>
            </a:avLst>
          </a:prstGeom>
          <a:solidFill>
            <a:srgbClr val="005587"/>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a:ea typeface="+mn-ea"/>
                <a:cs typeface="Lato Regular"/>
              </a:rPr>
              <a:t>External</a:t>
            </a:r>
            <a:r>
              <a:rPr kumimoji="0" lang="en-US" sz="1400" b="0" i="0" u="none" strike="noStrike" kern="0" cap="none" spc="0" normalizeH="0" noProof="0" dirty="0">
                <a:ln>
                  <a:noFill/>
                </a:ln>
                <a:solidFill>
                  <a:prstClr val="white"/>
                </a:solidFill>
                <a:effectLst/>
                <a:uLnTx/>
                <a:uFillTx/>
                <a:latin typeface="Calibri"/>
                <a:ea typeface="+mn-ea"/>
                <a:cs typeface="Lato Regular"/>
              </a:rPr>
              <a:t> Lawyers</a:t>
            </a:r>
            <a:endParaRPr kumimoji="0" lang="en-US" sz="1400" b="0" i="0" u="none" strike="noStrike" kern="0" cap="none" spc="0" normalizeH="0" baseline="0" noProof="0" dirty="0">
              <a:ln>
                <a:noFill/>
              </a:ln>
              <a:solidFill>
                <a:prstClr val="white"/>
              </a:solidFill>
              <a:effectLst/>
              <a:uLnTx/>
              <a:uFillTx/>
              <a:latin typeface="Calibri"/>
              <a:ea typeface="+mn-ea"/>
              <a:cs typeface="Lato Regular"/>
            </a:endParaRPr>
          </a:p>
        </p:txBody>
      </p:sp>
      <p:sp>
        <p:nvSpPr>
          <p:cNvPr id="40" name="Round Same Side Corner Rectangle 59">
            <a:extLst>
              <a:ext uri="{FF2B5EF4-FFF2-40B4-BE49-F238E27FC236}">
                <a16:creationId xmlns:a16="http://schemas.microsoft.com/office/drawing/2014/main" id="{1672B423-5DD1-1FAE-94E0-EB92DA863D24}"/>
              </a:ext>
            </a:extLst>
          </p:cNvPr>
          <p:cNvSpPr/>
          <p:nvPr/>
        </p:nvSpPr>
        <p:spPr>
          <a:xfrm>
            <a:off x="7100879" y="1825455"/>
            <a:ext cx="2013310" cy="530926"/>
          </a:xfrm>
          <a:prstGeom prst="round2SameRect">
            <a:avLst>
              <a:gd name="adj1" fmla="val 50000"/>
              <a:gd name="adj2" fmla="val 50000"/>
            </a:avLst>
          </a:prstGeom>
          <a:solidFill>
            <a:srgbClr val="012169"/>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a:ea typeface="+mn-ea"/>
                <a:cs typeface="Lato Regular"/>
              </a:rPr>
              <a:t>Executive Sponsor</a:t>
            </a:r>
          </a:p>
        </p:txBody>
      </p:sp>
      <p:sp>
        <p:nvSpPr>
          <p:cNvPr id="41" name="Round Same Side Corner Rectangle 59">
            <a:extLst>
              <a:ext uri="{FF2B5EF4-FFF2-40B4-BE49-F238E27FC236}">
                <a16:creationId xmlns:a16="http://schemas.microsoft.com/office/drawing/2014/main" id="{D545D2AA-9FD2-7BC5-9ADB-83A19180E6DD}"/>
              </a:ext>
            </a:extLst>
          </p:cNvPr>
          <p:cNvSpPr/>
          <p:nvPr/>
        </p:nvSpPr>
        <p:spPr>
          <a:xfrm>
            <a:off x="9395136" y="1825454"/>
            <a:ext cx="2013310" cy="530926"/>
          </a:xfrm>
          <a:prstGeom prst="round2SameRect">
            <a:avLst>
              <a:gd name="adj1" fmla="val 50000"/>
              <a:gd name="adj2" fmla="val 50000"/>
            </a:avLst>
          </a:prstGeom>
          <a:solidFill>
            <a:srgbClr val="012169"/>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a:solidFill>
                  <a:prstClr val="white"/>
                </a:solidFill>
                <a:latin typeface="Calibri"/>
                <a:cs typeface="Lato Regular"/>
              </a:rPr>
              <a:t>Governance Board</a:t>
            </a:r>
            <a:endParaRPr kumimoji="0" lang="en-US" sz="1400" b="0" i="0" u="none" strike="noStrike" kern="0" cap="none" spc="0" normalizeH="0" baseline="0" noProof="0" dirty="0">
              <a:ln>
                <a:noFill/>
              </a:ln>
              <a:solidFill>
                <a:prstClr val="white"/>
              </a:solidFill>
              <a:effectLst/>
              <a:uLnTx/>
              <a:uFillTx/>
              <a:latin typeface="Calibri"/>
              <a:cs typeface="Lato Regular"/>
            </a:endParaRPr>
          </a:p>
        </p:txBody>
      </p:sp>
      <p:sp>
        <p:nvSpPr>
          <p:cNvPr id="42" name="Round Same Side Corner Rectangle 59">
            <a:extLst>
              <a:ext uri="{FF2B5EF4-FFF2-40B4-BE49-F238E27FC236}">
                <a16:creationId xmlns:a16="http://schemas.microsoft.com/office/drawing/2014/main" id="{C3C17F6F-F3C4-0AE2-9786-0CAC37F48289}"/>
              </a:ext>
            </a:extLst>
          </p:cNvPr>
          <p:cNvSpPr/>
          <p:nvPr/>
        </p:nvSpPr>
        <p:spPr>
          <a:xfrm>
            <a:off x="769647" y="3821641"/>
            <a:ext cx="2503640" cy="530926"/>
          </a:xfrm>
          <a:prstGeom prst="round2SameRect">
            <a:avLst>
              <a:gd name="adj1" fmla="val 50000"/>
              <a:gd name="adj2" fmla="val 50000"/>
            </a:avLst>
          </a:prstGeom>
          <a:solidFill>
            <a:srgbClr val="046A38"/>
          </a:solidFill>
          <a:ln w="25400" cap="flat" cmpd="sng" algn="ctr">
            <a:noFill/>
            <a:prstDash val="solid"/>
          </a:ln>
          <a:effectLst/>
        </p:spPr>
        <p:txBody>
          <a:bodyPr lIns="109710" tIns="54855" rIns="109710" bIns="54855" rtlCol="0" anchor="ctr"/>
          <a:lstStyle/>
          <a:p>
            <a:pPr algn="ctr"/>
            <a:r>
              <a:rPr lang="en-US" sz="1400" kern="0" dirty="0">
                <a:solidFill>
                  <a:prstClr val="white"/>
                </a:solidFill>
                <a:latin typeface="Calibri"/>
              </a:rPr>
              <a:t>Project Management</a:t>
            </a:r>
          </a:p>
        </p:txBody>
      </p:sp>
      <p:sp>
        <p:nvSpPr>
          <p:cNvPr id="43" name="Round Same Side Corner Rectangle 59">
            <a:extLst>
              <a:ext uri="{FF2B5EF4-FFF2-40B4-BE49-F238E27FC236}">
                <a16:creationId xmlns:a16="http://schemas.microsoft.com/office/drawing/2014/main" id="{FD1D4C64-AA0C-085B-C235-5AD13306DEFD}"/>
              </a:ext>
            </a:extLst>
          </p:cNvPr>
          <p:cNvSpPr/>
          <p:nvPr/>
        </p:nvSpPr>
        <p:spPr>
          <a:xfrm>
            <a:off x="3451581" y="3821641"/>
            <a:ext cx="2503640" cy="530926"/>
          </a:xfrm>
          <a:prstGeom prst="round2SameRect">
            <a:avLst>
              <a:gd name="adj1" fmla="val 50000"/>
              <a:gd name="adj2" fmla="val 50000"/>
            </a:avLst>
          </a:prstGeom>
          <a:solidFill>
            <a:srgbClr val="046A38"/>
          </a:solidFill>
          <a:ln w="25400" cap="flat" cmpd="sng" algn="ctr">
            <a:noFill/>
            <a:prstDash val="solid"/>
          </a:ln>
          <a:effectLst/>
        </p:spPr>
        <p:txBody>
          <a:bodyPr lIns="109710" tIns="54855" rIns="109710" bIns="54855" rtlCol="0" anchor="ctr"/>
          <a:lstStyle/>
          <a:p>
            <a:pPr algn="ctr"/>
            <a:r>
              <a:rPr lang="en-US" sz="1400" kern="0" dirty="0">
                <a:solidFill>
                  <a:prstClr val="white"/>
                </a:solidFill>
                <a:latin typeface="Calibri"/>
              </a:rPr>
              <a:t>Product / Process SMEs</a:t>
            </a:r>
          </a:p>
        </p:txBody>
      </p:sp>
      <p:sp>
        <p:nvSpPr>
          <p:cNvPr id="44" name="Round Same Side Corner Rectangle 59">
            <a:extLst>
              <a:ext uri="{FF2B5EF4-FFF2-40B4-BE49-F238E27FC236}">
                <a16:creationId xmlns:a16="http://schemas.microsoft.com/office/drawing/2014/main" id="{4AE94191-0F2B-1471-35C8-75AC1C699068}"/>
              </a:ext>
            </a:extLst>
          </p:cNvPr>
          <p:cNvSpPr/>
          <p:nvPr/>
        </p:nvSpPr>
        <p:spPr>
          <a:xfrm>
            <a:off x="6133515" y="3821641"/>
            <a:ext cx="2503640" cy="530926"/>
          </a:xfrm>
          <a:prstGeom prst="round2SameRect">
            <a:avLst>
              <a:gd name="adj1" fmla="val 50000"/>
              <a:gd name="adj2" fmla="val 50000"/>
            </a:avLst>
          </a:prstGeom>
          <a:solidFill>
            <a:srgbClr val="43B02A"/>
          </a:solidFill>
          <a:ln w="25400" cap="flat" cmpd="sng" algn="ctr">
            <a:noFill/>
            <a:prstDash val="solid"/>
          </a:ln>
          <a:effectLst/>
        </p:spPr>
        <p:txBody>
          <a:bodyPr lIns="109710" tIns="54855" rIns="109710" bIns="54855" rtlCol="0" anchor="ctr"/>
          <a:lstStyle/>
          <a:p>
            <a:pPr algn="ctr"/>
            <a:r>
              <a:rPr lang="en-US" sz="1400" kern="0" dirty="0">
                <a:solidFill>
                  <a:prstClr val="white"/>
                </a:solidFill>
                <a:latin typeface="Calibri"/>
              </a:rPr>
              <a:t>Technical SMEs</a:t>
            </a:r>
          </a:p>
        </p:txBody>
      </p:sp>
      <p:cxnSp>
        <p:nvCxnSpPr>
          <p:cNvPr id="50" name="Straight Connector 49">
            <a:extLst>
              <a:ext uri="{FF2B5EF4-FFF2-40B4-BE49-F238E27FC236}">
                <a16:creationId xmlns:a16="http://schemas.microsoft.com/office/drawing/2014/main" id="{966EDDF3-43B5-9946-0A14-114469B234CC}"/>
              </a:ext>
            </a:extLst>
          </p:cNvPr>
          <p:cNvCxnSpPr>
            <a:cxnSpLocks/>
            <a:stCxn id="39" idx="0"/>
            <a:endCxn id="38" idx="2"/>
          </p:cNvCxnSpPr>
          <p:nvPr/>
        </p:nvCxnSpPr>
        <p:spPr>
          <a:xfrm>
            <a:off x="2782957" y="2090918"/>
            <a:ext cx="22151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78711CB-01FF-1D4C-AD3E-C1E381C0A1E6}"/>
              </a:ext>
            </a:extLst>
          </p:cNvPr>
          <p:cNvCxnSpPr>
            <a:cxnSpLocks/>
            <a:stCxn id="40" idx="0"/>
            <a:endCxn id="41" idx="2"/>
          </p:cNvCxnSpPr>
          <p:nvPr/>
        </p:nvCxnSpPr>
        <p:spPr>
          <a:xfrm flipV="1">
            <a:off x="9114189" y="2090917"/>
            <a:ext cx="280947" cy="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7" name="Round Same Side Corner Rectangle 59">
            <a:extLst>
              <a:ext uri="{FF2B5EF4-FFF2-40B4-BE49-F238E27FC236}">
                <a16:creationId xmlns:a16="http://schemas.microsoft.com/office/drawing/2014/main" id="{0573890C-D36C-4ABA-7911-7DE0A16CB43B}"/>
              </a:ext>
            </a:extLst>
          </p:cNvPr>
          <p:cNvSpPr/>
          <p:nvPr/>
        </p:nvSpPr>
        <p:spPr>
          <a:xfrm>
            <a:off x="4703401" y="2732456"/>
            <a:ext cx="2692332" cy="530926"/>
          </a:xfrm>
          <a:prstGeom prst="round2SameRect">
            <a:avLst>
              <a:gd name="adj1" fmla="val 50000"/>
              <a:gd name="adj2" fmla="val 50000"/>
            </a:avLst>
          </a:prstGeom>
          <a:solidFill>
            <a:schemeClr val="tx1">
              <a:lumMod val="75000"/>
              <a:lumOff val="25000"/>
            </a:schemeClr>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noProof="0" dirty="0">
                <a:solidFill>
                  <a:prstClr val="white"/>
                </a:solidFill>
                <a:latin typeface="Calibri"/>
                <a:cs typeface="Lato Regular"/>
              </a:rPr>
              <a:t>Remediation Project Lead</a:t>
            </a:r>
            <a:endParaRPr kumimoji="0" lang="en-US" sz="1400" b="0" i="0" u="none" strike="noStrike" kern="0" cap="none" spc="0" normalizeH="0" baseline="0" noProof="0" dirty="0">
              <a:ln>
                <a:noFill/>
              </a:ln>
              <a:solidFill>
                <a:prstClr val="white"/>
              </a:solidFill>
              <a:effectLst/>
              <a:uLnTx/>
              <a:uFillTx/>
              <a:latin typeface="Calibri"/>
              <a:cs typeface="Lato Regular"/>
            </a:endParaRPr>
          </a:p>
        </p:txBody>
      </p:sp>
      <p:sp>
        <p:nvSpPr>
          <p:cNvPr id="58" name="Round Same Side Corner Rectangle 59">
            <a:extLst>
              <a:ext uri="{FF2B5EF4-FFF2-40B4-BE49-F238E27FC236}">
                <a16:creationId xmlns:a16="http://schemas.microsoft.com/office/drawing/2014/main" id="{2C102403-BCE3-25BA-AA96-C170C1CC1D3D}"/>
              </a:ext>
            </a:extLst>
          </p:cNvPr>
          <p:cNvSpPr/>
          <p:nvPr/>
        </p:nvSpPr>
        <p:spPr>
          <a:xfrm>
            <a:off x="8815449" y="3821641"/>
            <a:ext cx="2503640" cy="530926"/>
          </a:xfrm>
          <a:prstGeom prst="round2SameRect">
            <a:avLst>
              <a:gd name="adj1" fmla="val 50000"/>
              <a:gd name="adj2" fmla="val 50000"/>
            </a:avLst>
          </a:prstGeom>
          <a:solidFill>
            <a:srgbClr val="86BC25"/>
          </a:solidFill>
          <a:ln w="25400" cap="flat" cmpd="sng" algn="ctr">
            <a:noFill/>
            <a:prstDash val="solid"/>
          </a:ln>
          <a:effectLst/>
        </p:spPr>
        <p:txBody>
          <a:bodyPr lIns="109710" tIns="54855" rIns="109710" bIns="54855" rtlCol="0" anchor="ctr"/>
          <a:lstStyle/>
          <a:p>
            <a:pPr algn="ctr"/>
            <a:r>
              <a:rPr lang="en-US" sz="1400" kern="0" dirty="0">
                <a:solidFill>
                  <a:prstClr val="white"/>
                </a:solidFill>
                <a:latin typeface="Calibri"/>
              </a:rPr>
              <a:t>Other SMEs</a:t>
            </a:r>
          </a:p>
        </p:txBody>
      </p:sp>
      <p:cxnSp>
        <p:nvCxnSpPr>
          <p:cNvPr id="60" name="Connector: Elbow 59">
            <a:extLst>
              <a:ext uri="{FF2B5EF4-FFF2-40B4-BE49-F238E27FC236}">
                <a16:creationId xmlns:a16="http://schemas.microsoft.com/office/drawing/2014/main" id="{D64E7332-3FC6-6389-EF1A-6538F0E34AE8}"/>
              </a:ext>
            </a:extLst>
          </p:cNvPr>
          <p:cNvCxnSpPr>
            <a:cxnSpLocks/>
            <a:stCxn id="57" idx="1"/>
            <a:endCxn id="42" idx="3"/>
          </p:cNvCxnSpPr>
          <p:nvPr/>
        </p:nvCxnSpPr>
        <p:spPr>
          <a:xfrm rot="5400000">
            <a:off x="3756388" y="1528461"/>
            <a:ext cx="558259" cy="4028100"/>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6C28A930-63E4-3F16-F2A3-981D35B3ABDB}"/>
              </a:ext>
            </a:extLst>
          </p:cNvPr>
          <p:cNvCxnSpPr>
            <a:stCxn id="57" idx="1"/>
            <a:endCxn id="58" idx="3"/>
          </p:cNvCxnSpPr>
          <p:nvPr/>
        </p:nvCxnSpPr>
        <p:spPr>
          <a:xfrm rot="16200000" flipH="1">
            <a:off x="7779289" y="1533660"/>
            <a:ext cx="558259" cy="4017702"/>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15A4417B-0F1A-9F5D-C93F-507A075B6886}"/>
              </a:ext>
            </a:extLst>
          </p:cNvPr>
          <p:cNvCxnSpPr>
            <a:stCxn id="57" idx="1"/>
            <a:endCxn id="44" idx="3"/>
          </p:cNvCxnSpPr>
          <p:nvPr/>
        </p:nvCxnSpPr>
        <p:spPr>
          <a:xfrm rot="16200000" flipH="1">
            <a:off x="6438322" y="2874627"/>
            <a:ext cx="558259" cy="1335768"/>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295CDD85-9ACE-91C9-7601-606121B16D8D}"/>
              </a:ext>
            </a:extLst>
          </p:cNvPr>
          <p:cNvCxnSpPr>
            <a:stCxn id="57" idx="1"/>
            <a:endCxn id="43" idx="3"/>
          </p:cNvCxnSpPr>
          <p:nvPr/>
        </p:nvCxnSpPr>
        <p:spPr>
          <a:xfrm rot="5400000">
            <a:off x="5097355" y="2869428"/>
            <a:ext cx="558259" cy="1346166"/>
          </a:xfrm>
          <a:prstGeom prst="bentConnector3">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BA4C8DD5-CC43-B94C-AB75-EDF64D016863}"/>
              </a:ext>
            </a:extLst>
          </p:cNvPr>
          <p:cNvCxnSpPr>
            <a:stCxn id="38" idx="0"/>
            <a:endCxn id="57" idx="3"/>
          </p:cNvCxnSpPr>
          <p:nvPr/>
        </p:nvCxnSpPr>
        <p:spPr>
          <a:xfrm>
            <a:off x="5017784" y="2090918"/>
            <a:ext cx="1031783" cy="641538"/>
          </a:xfrm>
          <a:prstGeom prst="bentConnector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EE25EE6C-4723-8F4E-853E-72D0A187EDA3}"/>
              </a:ext>
            </a:extLst>
          </p:cNvPr>
          <p:cNvCxnSpPr>
            <a:stCxn id="40" idx="2"/>
            <a:endCxn id="57" idx="3"/>
          </p:cNvCxnSpPr>
          <p:nvPr/>
        </p:nvCxnSpPr>
        <p:spPr>
          <a:xfrm rot="10800000" flipV="1">
            <a:off x="6049567" y="2090918"/>
            <a:ext cx="1051312" cy="641538"/>
          </a:xfrm>
          <a:prstGeom prst="bentConnector2">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D57BDF78-F0E2-2114-40C7-96C2A35C3A50}"/>
              </a:ext>
            </a:extLst>
          </p:cNvPr>
          <p:cNvSpPr txBox="1"/>
          <p:nvPr/>
        </p:nvSpPr>
        <p:spPr>
          <a:xfrm>
            <a:off x="8923217" y="4513197"/>
            <a:ext cx="2288103" cy="1677382"/>
          </a:xfrm>
          <a:prstGeom prst="rect">
            <a:avLst/>
          </a:prstGeom>
          <a:noFill/>
        </p:spPr>
        <p:txBody>
          <a:bodyPr wrap="square" lIns="0" tIns="0" rIns="0" bIns="0" rtlCol="0">
            <a:spAutoFit/>
          </a:bodyPr>
          <a:lstStyle/>
          <a:p>
            <a:pPr marL="185738" indent="-185738">
              <a:spcBef>
                <a:spcPts val="600"/>
              </a:spcBef>
              <a:buSzPct val="100000"/>
              <a:buFont typeface="Arial" panose="020B0604020202020204" pitchFamily="34" charset="0"/>
              <a:buChar char="•"/>
            </a:pPr>
            <a:r>
              <a:rPr lang="en-GB" sz="1400" dirty="0">
                <a:solidFill>
                  <a:schemeClr val="bg1"/>
                </a:solidFill>
              </a:rPr>
              <a:t>Forensic Accountants</a:t>
            </a:r>
          </a:p>
          <a:p>
            <a:pPr marL="185738" indent="-185738">
              <a:spcBef>
                <a:spcPts val="600"/>
              </a:spcBef>
              <a:buSzPct val="100000"/>
              <a:buFont typeface="Arial" panose="020B0604020202020204" pitchFamily="34" charset="0"/>
              <a:buChar char="•"/>
            </a:pPr>
            <a:r>
              <a:rPr lang="en-GB" sz="1400" dirty="0">
                <a:solidFill>
                  <a:schemeClr val="bg1"/>
                </a:solidFill>
              </a:rPr>
              <a:t>Case / Claims Management</a:t>
            </a:r>
          </a:p>
          <a:p>
            <a:pPr marL="185738" indent="-185738">
              <a:spcBef>
                <a:spcPts val="600"/>
              </a:spcBef>
              <a:buSzPct val="100000"/>
              <a:buFont typeface="Arial" panose="020B0604020202020204" pitchFamily="34" charset="0"/>
              <a:buChar char="•"/>
            </a:pPr>
            <a:r>
              <a:rPr lang="en-GB" sz="1400" dirty="0">
                <a:solidFill>
                  <a:schemeClr val="bg1"/>
                </a:solidFill>
              </a:rPr>
              <a:t>Regulatory Specialists</a:t>
            </a:r>
          </a:p>
          <a:p>
            <a:pPr marL="185738" indent="-185738">
              <a:spcBef>
                <a:spcPts val="600"/>
              </a:spcBef>
              <a:buSzPct val="100000"/>
              <a:buFont typeface="Arial" panose="020B0604020202020204" pitchFamily="34" charset="0"/>
              <a:buChar char="•"/>
            </a:pPr>
            <a:r>
              <a:rPr lang="en-GB" sz="1400" dirty="0">
                <a:solidFill>
                  <a:schemeClr val="bg1"/>
                </a:solidFill>
              </a:rPr>
              <a:t>Risk/internal audit</a:t>
            </a:r>
          </a:p>
          <a:p>
            <a:pPr marL="185738" indent="-185738">
              <a:spcBef>
                <a:spcPts val="600"/>
              </a:spcBef>
              <a:buSzPct val="100000"/>
              <a:buFont typeface="Arial" panose="020B0604020202020204" pitchFamily="34" charset="0"/>
              <a:buChar char="•"/>
            </a:pPr>
            <a:r>
              <a:rPr lang="en-GB" sz="1400" dirty="0">
                <a:solidFill>
                  <a:schemeClr val="bg1"/>
                </a:solidFill>
              </a:rPr>
              <a:t>Privacy</a:t>
            </a:r>
          </a:p>
          <a:p>
            <a:pPr marL="185738" indent="-185738">
              <a:spcBef>
                <a:spcPts val="600"/>
              </a:spcBef>
              <a:buSzPct val="100000"/>
              <a:buFont typeface="Arial" panose="020B0604020202020204" pitchFamily="34" charset="0"/>
              <a:buChar char="•"/>
            </a:pPr>
            <a:r>
              <a:rPr lang="en-GB" sz="1400" dirty="0">
                <a:solidFill>
                  <a:schemeClr val="bg1"/>
                </a:solidFill>
              </a:rPr>
              <a:t>External communications</a:t>
            </a:r>
          </a:p>
        </p:txBody>
      </p:sp>
      <p:sp>
        <p:nvSpPr>
          <p:cNvPr id="81" name="TextBox 80">
            <a:extLst>
              <a:ext uri="{FF2B5EF4-FFF2-40B4-BE49-F238E27FC236}">
                <a16:creationId xmlns:a16="http://schemas.microsoft.com/office/drawing/2014/main" id="{BD69921C-8EA3-2396-A5CA-21941E505563}"/>
              </a:ext>
            </a:extLst>
          </p:cNvPr>
          <p:cNvSpPr txBox="1"/>
          <p:nvPr/>
        </p:nvSpPr>
        <p:spPr>
          <a:xfrm>
            <a:off x="6349052" y="4513197"/>
            <a:ext cx="2288103" cy="1969770"/>
          </a:xfrm>
          <a:prstGeom prst="rect">
            <a:avLst/>
          </a:prstGeom>
          <a:noFill/>
        </p:spPr>
        <p:txBody>
          <a:bodyPr wrap="square" lIns="0" tIns="0" rIns="0" bIns="0" rtlCol="0">
            <a:spAutoFit/>
          </a:bodyPr>
          <a:lstStyle/>
          <a:p>
            <a:pPr marL="185738" indent="-185738">
              <a:spcBef>
                <a:spcPts val="600"/>
              </a:spcBef>
              <a:buSzPct val="100000"/>
              <a:buFont typeface="Arial" panose="020B0604020202020204" pitchFamily="34" charset="0"/>
              <a:buChar char="•"/>
            </a:pPr>
            <a:r>
              <a:rPr lang="en-GB" sz="1400" dirty="0">
                <a:solidFill>
                  <a:schemeClr val="bg1"/>
                </a:solidFill>
              </a:rPr>
              <a:t>Information Technology</a:t>
            </a:r>
          </a:p>
          <a:p>
            <a:pPr marL="185738" indent="-185738">
              <a:spcBef>
                <a:spcPts val="600"/>
              </a:spcBef>
              <a:buSzPct val="100000"/>
              <a:buFont typeface="Arial" panose="020B0604020202020204" pitchFamily="34" charset="0"/>
              <a:buChar char="•"/>
            </a:pPr>
            <a:r>
              <a:rPr lang="en-GB" sz="1400" dirty="0">
                <a:solidFill>
                  <a:schemeClr val="bg1"/>
                </a:solidFill>
              </a:rPr>
              <a:t>Systems Architects</a:t>
            </a:r>
          </a:p>
          <a:p>
            <a:pPr marL="185738" indent="-185738">
              <a:spcBef>
                <a:spcPts val="600"/>
              </a:spcBef>
              <a:buSzPct val="100000"/>
              <a:buFont typeface="Arial" panose="020B0604020202020204" pitchFamily="34" charset="0"/>
              <a:buChar char="•"/>
            </a:pPr>
            <a:r>
              <a:rPr lang="en-GB" sz="1400" dirty="0">
                <a:solidFill>
                  <a:schemeClr val="bg1"/>
                </a:solidFill>
              </a:rPr>
              <a:t>Data Analysts</a:t>
            </a:r>
          </a:p>
          <a:p>
            <a:pPr marL="185738" indent="-185738">
              <a:spcBef>
                <a:spcPts val="600"/>
              </a:spcBef>
              <a:buSzPct val="100000"/>
              <a:buFont typeface="Arial" panose="020B0604020202020204" pitchFamily="34" charset="0"/>
              <a:buChar char="•"/>
            </a:pPr>
            <a:r>
              <a:rPr lang="en-GB" sz="1400" dirty="0">
                <a:solidFill>
                  <a:schemeClr val="bg1"/>
                </a:solidFill>
              </a:rPr>
              <a:t>Data Scientists</a:t>
            </a:r>
          </a:p>
          <a:p>
            <a:pPr marL="185738" indent="-185738">
              <a:spcBef>
                <a:spcPts val="600"/>
              </a:spcBef>
              <a:buSzPct val="100000"/>
              <a:buFont typeface="Arial" panose="020B0604020202020204" pitchFamily="34" charset="0"/>
              <a:buChar char="•"/>
            </a:pPr>
            <a:r>
              <a:rPr lang="en-GB" sz="1400" dirty="0">
                <a:solidFill>
                  <a:schemeClr val="bg1"/>
                </a:solidFill>
              </a:rPr>
              <a:t>Digital Forensic/Discovery</a:t>
            </a:r>
          </a:p>
          <a:p>
            <a:pPr marL="185738" indent="-185738">
              <a:spcBef>
                <a:spcPts val="600"/>
              </a:spcBef>
              <a:buSzPct val="100000"/>
              <a:buFont typeface="Arial" panose="020B0604020202020204" pitchFamily="34" charset="0"/>
              <a:buChar char="•"/>
            </a:pPr>
            <a:r>
              <a:rPr lang="en-GB" sz="1400" dirty="0">
                <a:solidFill>
                  <a:schemeClr val="bg1"/>
                </a:solidFill>
              </a:rPr>
              <a:t>Cyber Specialists</a:t>
            </a:r>
          </a:p>
          <a:p>
            <a:pPr marL="185738" indent="-185738">
              <a:spcBef>
                <a:spcPts val="600"/>
              </a:spcBef>
              <a:buSzPct val="100000"/>
              <a:buFont typeface="Arial" panose="020B0604020202020204" pitchFamily="34" charset="0"/>
              <a:buChar char="•"/>
            </a:pPr>
            <a:endParaRPr lang="en-GB" sz="1400" dirty="0">
              <a:solidFill>
                <a:schemeClr val="bg1"/>
              </a:solidFill>
            </a:endParaRPr>
          </a:p>
        </p:txBody>
      </p:sp>
      <p:sp>
        <p:nvSpPr>
          <p:cNvPr id="82" name="TextBox 81">
            <a:extLst>
              <a:ext uri="{FF2B5EF4-FFF2-40B4-BE49-F238E27FC236}">
                <a16:creationId xmlns:a16="http://schemas.microsoft.com/office/drawing/2014/main" id="{013233B1-91B6-8564-C694-C23F012D756A}"/>
              </a:ext>
            </a:extLst>
          </p:cNvPr>
          <p:cNvSpPr txBox="1"/>
          <p:nvPr/>
        </p:nvSpPr>
        <p:spPr>
          <a:xfrm>
            <a:off x="3667118" y="4513197"/>
            <a:ext cx="2288103" cy="1384995"/>
          </a:xfrm>
          <a:prstGeom prst="rect">
            <a:avLst/>
          </a:prstGeom>
          <a:noFill/>
        </p:spPr>
        <p:txBody>
          <a:bodyPr wrap="square" lIns="0" tIns="0" rIns="0" bIns="0" rtlCol="0">
            <a:spAutoFit/>
          </a:bodyPr>
          <a:lstStyle/>
          <a:p>
            <a:pPr marL="185738" indent="-185738">
              <a:spcBef>
                <a:spcPts val="600"/>
              </a:spcBef>
              <a:buSzPct val="100000"/>
              <a:buFont typeface="Arial" panose="020B0604020202020204" pitchFamily="34" charset="0"/>
              <a:buChar char="•"/>
            </a:pPr>
            <a:r>
              <a:rPr lang="en-GB" sz="1400" dirty="0">
                <a:solidFill>
                  <a:schemeClr val="bg1"/>
                </a:solidFill>
              </a:rPr>
              <a:t>Process Owners </a:t>
            </a:r>
          </a:p>
          <a:p>
            <a:pPr marL="185738" indent="-185738">
              <a:spcBef>
                <a:spcPts val="600"/>
              </a:spcBef>
              <a:buSzPct val="100000"/>
              <a:buFont typeface="Arial" panose="020B0604020202020204" pitchFamily="34" charset="0"/>
              <a:buChar char="•"/>
            </a:pPr>
            <a:r>
              <a:rPr lang="en-GB" sz="1400" dirty="0">
                <a:solidFill>
                  <a:schemeClr val="bg1"/>
                </a:solidFill>
              </a:rPr>
              <a:t>Product Owners</a:t>
            </a:r>
          </a:p>
          <a:p>
            <a:pPr marL="185738" indent="-185738">
              <a:spcBef>
                <a:spcPts val="600"/>
              </a:spcBef>
              <a:buSzPct val="100000"/>
              <a:buFont typeface="Arial" panose="020B0604020202020204" pitchFamily="34" charset="0"/>
              <a:buChar char="•"/>
            </a:pPr>
            <a:r>
              <a:rPr lang="en-GB" sz="1400" dirty="0">
                <a:solidFill>
                  <a:schemeClr val="bg1"/>
                </a:solidFill>
              </a:rPr>
              <a:t>Model Owners</a:t>
            </a:r>
          </a:p>
          <a:p>
            <a:pPr marL="185738" indent="-185738">
              <a:spcBef>
                <a:spcPts val="600"/>
              </a:spcBef>
              <a:buSzPct val="100000"/>
              <a:buFont typeface="Arial" panose="020B0604020202020204" pitchFamily="34" charset="0"/>
              <a:buChar char="•"/>
            </a:pPr>
            <a:r>
              <a:rPr lang="en-GB" sz="1400" dirty="0">
                <a:solidFill>
                  <a:schemeClr val="bg1"/>
                </a:solidFill>
              </a:rPr>
              <a:t>Customer Experience</a:t>
            </a:r>
          </a:p>
          <a:p>
            <a:pPr marL="185738" indent="-185738">
              <a:spcBef>
                <a:spcPts val="600"/>
              </a:spcBef>
              <a:buSzPct val="100000"/>
              <a:buFont typeface="Arial" panose="020B0604020202020204" pitchFamily="34" charset="0"/>
              <a:buChar char="•"/>
            </a:pPr>
            <a:endParaRPr lang="en-GB" sz="1400" dirty="0">
              <a:solidFill>
                <a:schemeClr val="bg1"/>
              </a:solidFill>
            </a:endParaRPr>
          </a:p>
        </p:txBody>
      </p:sp>
      <p:sp>
        <p:nvSpPr>
          <p:cNvPr id="84" name="TextBox 83">
            <a:extLst>
              <a:ext uri="{FF2B5EF4-FFF2-40B4-BE49-F238E27FC236}">
                <a16:creationId xmlns:a16="http://schemas.microsoft.com/office/drawing/2014/main" id="{79BD8B3F-3393-9E72-150F-EA80B0A722D5}"/>
              </a:ext>
            </a:extLst>
          </p:cNvPr>
          <p:cNvSpPr txBox="1"/>
          <p:nvPr/>
        </p:nvSpPr>
        <p:spPr>
          <a:xfrm>
            <a:off x="980680" y="4513197"/>
            <a:ext cx="2120329" cy="938719"/>
          </a:xfrm>
          <a:prstGeom prst="rect">
            <a:avLst/>
          </a:prstGeom>
          <a:noFill/>
        </p:spPr>
        <p:txBody>
          <a:bodyPr wrap="square" lIns="0" tIns="0" rIns="0" bIns="0" rtlCol="0">
            <a:spAutoFit/>
          </a:bodyPr>
          <a:lstStyle/>
          <a:p>
            <a:pPr marL="185738" indent="-185738">
              <a:spcBef>
                <a:spcPts val="600"/>
              </a:spcBef>
              <a:buSzPct val="100000"/>
              <a:buFont typeface="Arial" panose="020B0604020202020204" pitchFamily="34" charset="0"/>
              <a:buChar char="•"/>
            </a:pPr>
            <a:r>
              <a:rPr lang="en-GB" sz="1400" dirty="0">
                <a:solidFill>
                  <a:schemeClr val="bg1"/>
                </a:solidFill>
              </a:rPr>
              <a:t>Project and Programme Management disciplines</a:t>
            </a:r>
          </a:p>
          <a:p>
            <a:pPr marL="185738" indent="-185738">
              <a:spcBef>
                <a:spcPts val="600"/>
              </a:spcBef>
              <a:buSzPct val="100000"/>
              <a:buFont typeface="Arial" panose="020B0604020202020204" pitchFamily="34" charset="0"/>
              <a:buChar char="•"/>
            </a:pPr>
            <a:r>
              <a:rPr lang="en-GB" sz="1400" i="1" dirty="0">
                <a:solidFill>
                  <a:schemeClr val="bg1"/>
                </a:solidFill>
              </a:rPr>
              <a:t>May include Agile specialists</a:t>
            </a:r>
          </a:p>
        </p:txBody>
      </p:sp>
    </p:spTree>
    <p:extLst>
      <p:ext uri="{BB962C8B-B14F-4D97-AF65-F5344CB8AC3E}">
        <p14:creationId xmlns:p14="http://schemas.microsoft.com/office/powerpoint/2010/main" val="303775414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505F85-3D42-0670-6F18-AA1B31AFA62D}"/>
              </a:ext>
            </a:extLst>
          </p:cNvPr>
          <p:cNvSpPr txBox="1"/>
          <p:nvPr/>
        </p:nvSpPr>
        <p:spPr>
          <a:xfrm>
            <a:off x="430550" y="323577"/>
            <a:ext cx="7248633" cy="461665"/>
          </a:xfrm>
          <a:prstGeom prst="rect">
            <a:avLst/>
          </a:prstGeom>
          <a:noFill/>
        </p:spPr>
        <p:txBody>
          <a:bodyPr wrap="square" rtlCol="0">
            <a:spAutoFit/>
          </a:bodyPr>
          <a:lstStyle/>
          <a:p>
            <a:r>
              <a:rPr lang="en-NZ" sz="2400" dirty="0">
                <a:solidFill>
                  <a:schemeClr val="bg1"/>
                </a:solidFill>
              </a:rPr>
              <a:t>Impact Analysis</a:t>
            </a:r>
          </a:p>
        </p:txBody>
      </p:sp>
      <p:pic>
        <p:nvPicPr>
          <p:cNvPr id="2" name="Graphic 1" descr="Group of people outline">
            <a:extLst>
              <a:ext uri="{FF2B5EF4-FFF2-40B4-BE49-F238E27FC236}">
                <a16:creationId xmlns:a16="http://schemas.microsoft.com/office/drawing/2014/main" id="{1826D7BE-C23B-1927-E352-45C0F06AD1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65706" y="1849078"/>
            <a:ext cx="1112469" cy="1112469"/>
          </a:xfrm>
          <a:prstGeom prst="rect">
            <a:avLst/>
          </a:prstGeom>
        </p:spPr>
      </p:pic>
      <p:sp>
        <p:nvSpPr>
          <p:cNvPr id="4" name="TextBox 3">
            <a:extLst>
              <a:ext uri="{FF2B5EF4-FFF2-40B4-BE49-F238E27FC236}">
                <a16:creationId xmlns:a16="http://schemas.microsoft.com/office/drawing/2014/main" id="{3B6FB18F-4F6B-C07F-6363-EA27562F3DA7}"/>
              </a:ext>
            </a:extLst>
          </p:cNvPr>
          <p:cNvSpPr txBox="1"/>
          <p:nvPr/>
        </p:nvSpPr>
        <p:spPr>
          <a:xfrm>
            <a:off x="5029626" y="3194269"/>
            <a:ext cx="1722922" cy="492443"/>
          </a:xfrm>
          <a:prstGeom prst="rect">
            <a:avLst/>
          </a:prstGeom>
          <a:noFill/>
        </p:spPr>
        <p:txBody>
          <a:bodyPr wrap="square" lIns="0" tIns="0" rIns="0" bIns="0" rtlCol="0">
            <a:spAutoFit/>
          </a:bodyPr>
          <a:lstStyle/>
          <a:p>
            <a:pPr algn="ctr">
              <a:spcBef>
                <a:spcPts val="600"/>
              </a:spcBef>
              <a:buSzPct val="100000"/>
            </a:pPr>
            <a:r>
              <a:rPr lang="en-GB" sz="1600" dirty="0">
                <a:solidFill>
                  <a:schemeClr val="bg1"/>
                </a:solidFill>
              </a:rPr>
              <a:t>Identifying the impacted Population</a:t>
            </a:r>
          </a:p>
        </p:txBody>
      </p:sp>
      <p:pic>
        <p:nvPicPr>
          <p:cNvPr id="5" name="Graphic 4" descr="Flying Money outline">
            <a:extLst>
              <a:ext uri="{FF2B5EF4-FFF2-40B4-BE49-F238E27FC236}">
                <a16:creationId xmlns:a16="http://schemas.microsoft.com/office/drawing/2014/main" id="{1053DC25-44EE-9F1C-4C33-803DB0DB51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44105" y="1885644"/>
            <a:ext cx="1112469" cy="1112469"/>
          </a:xfrm>
          <a:prstGeom prst="rect">
            <a:avLst/>
          </a:prstGeom>
        </p:spPr>
      </p:pic>
      <p:sp>
        <p:nvSpPr>
          <p:cNvPr id="6" name="TextBox 5">
            <a:extLst>
              <a:ext uri="{FF2B5EF4-FFF2-40B4-BE49-F238E27FC236}">
                <a16:creationId xmlns:a16="http://schemas.microsoft.com/office/drawing/2014/main" id="{AA344E63-62E9-ABAD-22AB-75ACC9F1CEBB}"/>
              </a:ext>
            </a:extLst>
          </p:cNvPr>
          <p:cNvSpPr txBox="1"/>
          <p:nvPr/>
        </p:nvSpPr>
        <p:spPr>
          <a:xfrm>
            <a:off x="7974997" y="3194269"/>
            <a:ext cx="1722922" cy="492443"/>
          </a:xfrm>
          <a:prstGeom prst="rect">
            <a:avLst/>
          </a:prstGeom>
          <a:noFill/>
        </p:spPr>
        <p:txBody>
          <a:bodyPr wrap="square" lIns="0" tIns="0" rIns="0" bIns="0" rtlCol="0">
            <a:spAutoFit/>
          </a:bodyPr>
          <a:lstStyle/>
          <a:p>
            <a:pPr algn="ctr">
              <a:spcBef>
                <a:spcPts val="600"/>
              </a:spcBef>
              <a:buSzPct val="100000"/>
            </a:pPr>
            <a:r>
              <a:rPr lang="en-GB" sz="1600" dirty="0">
                <a:solidFill>
                  <a:schemeClr val="bg1"/>
                </a:solidFill>
              </a:rPr>
              <a:t>High level estimate of scale &amp; liability</a:t>
            </a:r>
          </a:p>
        </p:txBody>
      </p:sp>
      <p:sp>
        <p:nvSpPr>
          <p:cNvPr id="18" name="TextBox 17">
            <a:extLst>
              <a:ext uri="{FF2B5EF4-FFF2-40B4-BE49-F238E27FC236}">
                <a16:creationId xmlns:a16="http://schemas.microsoft.com/office/drawing/2014/main" id="{F2FCAB80-B1B2-F4C7-B835-2A6D109C6BCE}"/>
              </a:ext>
            </a:extLst>
          </p:cNvPr>
          <p:cNvSpPr txBox="1"/>
          <p:nvPr/>
        </p:nvSpPr>
        <p:spPr>
          <a:xfrm>
            <a:off x="2110942" y="3194269"/>
            <a:ext cx="1722922" cy="492443"/>
          </a:xfrm>
          <a:prstGeom prst="rect">
            <a:avLst/>
          </a:prstGeom>
          <a:noFill/>
        </p:spPr>
        <p:txBody>
          <a:bodyPr wrap="square" lIns="0" tIns="0" rIns="0" bIns="0" rtlCol="0">
            <a:spAutoFit/>
          </a:bodyPr>
          <a:lstStyle/>
          <a:p>
            <a:pPr algn="ctr">
              <a:spcBef>
                <a:spcPts val="600"/>
              </a:spcBef>
              <a:buSzPct val="100000"/>
            </a:pPr>
            <a:r>
              <a:rPr lang="en-GB" sz="1600" dirty="0">
                <a:solidFill>
                  <a:schemeClr val="bg1"/>
                </a:solidFill>
              </a:rPr>
              <a:t>Articulating the problem statement</a:t>
            </a:r>
          </a:p>
        </p:txBody>
      </p:sp>
      <p:pic>
        <p:nvPicPr>
          <p:cNvPr id="19" name="Graphic 18" descr="Questions outline">
            <a:extLst>
              <a:ext uri="{FF2B5EF4-FFF2-40B4-BE49-F238E27FC236}">
                <a16:creationId xmlns:a16="http://schemas.microsoft.com/office/drawing/2014/main" id="{536060A8-54D9-6882-5553-391E734018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55688" y="1799011"/>
            <a:ext cx="1199102" cy="1199102"/>
          </a:xfrm>
          <a:prstGeom prst="rect">
            <a:avLst/>
          </a:prstGeom>
        </p:spPr>
      </p:pic>
      <p:sp>
        <p:nvSpPr>
          <p:cNvPr id="20" name="Freeform 105">
            <a:extLst>
              <a:ext uri="{FF2B5EF4-FFF2-40B4-BE49-F238E27FC236}">
                <a16:creationId xmlns:a16="http://schemas.microsoft.com/office/drawing/2014/main" id="{076337E7-EDF0-4A8C-734B-AD8DAFC69AA3}"/>
              </a:ext>
            </a:extLst>
          </p:cNvPr>
          <p:cNvSpPr>
            <a:spLocks noChangeAspect="1" noEditPoints="1"/>
          </p:cNvSpPr>
          <p:nvPr/>
        </p:nvSpPr>
        <p:spPr bwMode="auto">
          <a:xfrm>
            <a:off x="4311988" y="2413443"/>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1" name="Freeform 105">
            <a:extLst>
              <a:ext uri="{FF2B5EF4-FFF2-40B4-BE49-F238E27FC236}">
                <a16:creationId xmlns:a16="http://schemas.microsoft.com/office/drawing/2014/main" id="{413D210D-A8CE-00EC-8BDB-DED0D5076B1E}"/>
              </a:ext>
            </a:extLst>
          </p:cNvPr>
          <p:cNvSpPr>
            <a:spLocks noChangeAspect="1" noEditPoints="1"/>
          </p:cNvSpPr>
          <p:nvPr/>
        </p:nvSpPr>
        <p:spPr bwMode="auto">
          <a:xfrm>
            <a:off x="7241540" y="2413443"/>
            <a:ext cx="368152" cy="36825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416 h 512"/>
              <a:gd name="T12" fmla="*/ 141 w 512"/>
              <a:gd name="T13" fmla="*/ 413 h 512"/>
              <a:gd name="T14" fmla="*/ 141 w 512"/>
              <a:gd name="T15" fmla="*/ 397 h 512"/>
              <a:gd name="T16" fmla="*/ 283 w 512"/>
              <a:gd name="T17" fmla="*/ 256 h 512"/>
              <a:gd name="T18" fmla="*/ 141 w 512"/>
              <a:gd name="T19" fmla="*/ 114 h 512"/>
              <a:gd name="T20" fmla="*/ 141 w 512"/>
              <a:gd name="T21" fmla="*/ 99 h 512"/>
              <a:gd name="T22" fmla="*/ 157 w 512"/>
              <a:gd name="T23" fmla="*/ 99 h 512"/>
              <a:gd name="T24" fmla="*/ 306 w 512"/>
              <a:gd name="T25" fmla="*/ 248 h 512"/>
              <a:gd name="T26" fmla="*/ 306 w 512"/>
              <a:gd name="T27" fmla="*/ 263 h 512"/>
              <a:gd name="T28" fmla="*/ 157 w 512"/>
              <a:gd name="T29" fmla="*/ 413 h 512"/>
              <a:gd name="T30" fmla="*/ 149 w 512"/>
              <a:gd name="T31" fmla="*/ 416 h 512"/>
              <a:gd name="T32" fmla="*/ 413 w 512"/>
              <a:gd name="T33" fmla="*/ 263 h 512"/>
              <a:gd name="T34" fmla="*/ 263 w 512"/>
              <a:gd name="T35" fmla="*/ 413 h 512"/>
              <a:gd name="T36" fmla="*/ 256 w 512"/>
              <a:gd name="T37" fmla="*/ 416 h 512"/>
              <a:gd name="T38" fmla="*/ 248 w 512"/>
              <a:gd name="T39" fmla="*/ 413 h 512"/>
              <a:gd name="T40" fmla="*/ 248 w 512"/>
              <a:gd name="T41" fmla="*/ 397 h 512"/>
              <a:gd name="T42" fmla="*/ 390 w 512"/>
              <a:gd name="T43" fmla="*/ 256 h 512"/>
              <a:gd name="T44" fmla="*/ 248 w 512"/>
              <a:gd name="T45" fmla="*/ 114 h 512"/>
              <a:gd name="T46" fmla="*/ 248 w 512"/>
              <a:gd name="T47" fmla="*/ 99 h 512"/>
              <a:gd name="T48" fmla="*/ 263 w 512"/>
              <a:gd name="T49" fmla="*/ 99 h 512"/>
              <a:gd name="T50" fmla="*/ 413 w 512"/>
              <a:gd name="T51" fmla="*/ 248 h 512"/>
              <a:gd name="T52" fmla="*/ 413 w 512"/>
              <a:gd name="T53" fmla="*/ 2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416"/>
                </a:moveTo>
                <a:cubicBezTo>
                  <a:pt x="146" y="416"/>
                  <a:pt x="144" y="415"/>
                  <a:pt x="141" y="413"/>
                </a:cubicBezTo>
                <a:cubicBezTo>
                  <a:pt x="137" y="408"/>
                  <a:pt x="137" y="402"/>
                  <a:pt x="141" y="397"/>
                </a:cubicBezTo>
                <a:cubicBezTo>
                  <a:pt x="283" y="256"/>
                  <a:pt x="283" y="256"/>
                  <a:pt x="283" y="256"/>
                </a:cubicBezTo>
                <a:cubicBezTo>
                  <a:pt x="141" y="114"/>
                  <a:pt x="141" y="114"/>
                  <a:pt x="141" y="114"/>
                </a:cubicBezTo>
                <a:cubicBezTo>
                  <a:pt x="137" y="110"/>
                  <a:pt x="137" y="103"/>
                  <a:pt x="141" y="99"/>
                </a:cubicBezTo>
                <a:cubicBezTo>
                  <a:pt x="146" y="95"/>
                  <a:pt x="152" y="95"/>
                  <a:pt x="157" y="99"/>
                </a:cubicBezTo>
                <a:cubicBezTo>
                  <a:pt x="306" y="248"/>
                  <a:pt x="306" y="248"/>
                  <a:pt x="306" y="248"/>
                </a:cubicBezTo>
                <a:cubicBezTo>
                  <a:pt x="310" y="252"/>
                  <a:pt x="310" y="259"/>
                  <a:pt x="306" y="263"/>
                </a:cubicBezTo>
                <a:cubicBezTo>
                  <a:pt x="157" y="413"/>
                  <a:pt x="157" y="413"/>
                  <a:pt x="157" y="413"/>
                </a:cubicBezTo>
                <a:cubicBezTo>
                  <a:pt x="154" y="415"/>
                  <a:pt x="152" y="416"/>
                  <a:pt x="149" y="416"/>
                </a:cubicBezTo>
                <a:close/>
                <a:moveTo>
                  <a:pt x="413" y="263"/>
                </a:moveTo>
                <a:cubicBezTo>
                  <a:pt x="263" y="413"/>
                  <a:pt x="263" y="413"/>
                  <a:pt x="263" y="413"/>
                </a:cubicBezTo>
                <a:cubicBezTo>
                  <a:pt x="261" y="415"/>
                  <a:pt x="258" y="416"/>
                  <a:pt x="256" y="416"/>
                </a:cubicBezTo>
                <a:cubicBezTo>
                  <a:pt x="253" y="416"/>
                  <a:pt x="250" y="415"/>
                  <a:pt x="248" y="413"/>
                </a:cubicBezTo>
                <a:cubicBezTo>
                  <a:pt x="244" y="408"/>
                  <a:pt x="244" y="402"/>
                  <a:pt x="248" y="397"/>
                </a:cubicBezTo>
                <a:cubicBezTo>
                  <a:pt x="390" y="256"/>
                  <a:pt x="390" y="256"/>
                  <a:pt x="390" y="256"/>
                </a:cubicBezTo>
                <a:cubicBezTo>
                  <a:pt x="248" y="114"/>
                  <a:pt x="248" y="114"/>
                  <a:pt x="248" y="114"/>
                </a:cubicBezTo>
                <a:cubicBezTo>
                  <a:pt x="244" y="110"/>
                  <a:pt x="244" y="103"/>
                  <a:pt x="248" y="99"/>
                </a:cubicBezTo>
                <a:cubicBezTo>
                  <a:pt x="252" y="95"/>
                  <a:pt x="259" y="95"/>
                  <a:pt x="263" y="99"/>
                </a:cubicBezTo>
                <a:cubicBezTo>
                  <a:pt x="413" y="248"/>
                  <a:pt x="413" y="248"/>
                  <a:pt x="413" y="248"/>
                </a:cubicBezTo>
                <a:cubicBezTo>
                  <a:pt x="417" y="252"/>
                  <a:pt x="417" y="259"/>
                  <a:pt x="413" y="26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4" name="Rectangle 73">
            <a:extLst>
              <a:ext uri="{FF2B5EF4-FFF2-40B4-BE49-F238E27FC236}">
                <a16:creationId xmlns:a16="http://schemas.microsoft.com/office/drawing/2014/main" id="{55E53DA4-5592-7605-81EC-FFB4E7001D94}"/>
              </a:ext>
            </a:extLst>
          </p:cNvPr>
          <p:cNvSpPr/>
          <p:nvPr/>
        </p:nvSpPr>
        <p:spPr>
          <a:xfrm>
            <a:off x="430550" y="834289"/>
            <a:ext cx="7049691" cy="328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r>
              <a:rPr lang="en-NZ" dirty="0">
                <a:solidFill>
                  <a:schemeClr val="bg1">
                    <a:lumMod val="85000"/>
                  </a:schemeClr>
                </a:solidFill>
              </a:rPr>
              <a:t>Undertake analysis to understand the extent of the impact and cause</a:t>
            </a:r>
          </a:p>
        </p:txBody>
      </p:sp>
      <p:sp>
        <p:nvSpPr>
          <p:cNvPr id="8" name="TextBox 7">
            <a:extLst>
              <a:ext uri="{FF2B5EF4-FFF2-40B4-BE49-F238E27FC236}">
                <a16:creationId xmlns:a16="http://schemas.microsoft.com/office/drawing/2014/main" id="{5A97F709-C390-CE56-3359-61FA20BCBEA8}"/>
              </a:ext>
            </a:extLst>
          </p:cNvPr>
          <p:cNvSpPr txBox="1"/>
          <p:nvPr/>
        </p:nvSpPr>
        <p:spPr>
          <a:xfrm>
            <a:off x="3045948" y="5016708"/>
            <a:ext cx="1281286" cy="800219"/>
          </a:xfrm>
          <a:prstGeom prst="rect">
            <a:avLst/>
          </a:prstGeom>
          <a:noFill/>
        </p:spPr>
        <p:txBody>
          <a:bodyPr wrap="square" lIns="0" tIns="0" rIns="0" bIns="0" rtlCol="0">
            <a:spAutoFit/>
          </a:bodyPr>
          <a:lstStyle/>
          <a:p>
            <a:pPr>
              <a:spcBef>
                <a:spcPts val="600"/>
              </a:spcBef>
              <a:buSzPct val="100000"/>
            </a:pPr>
            <a:r>
              <a:rPr lang="en-GB" sz="1300" dirty="0">
                <a:solidFill>
                  <a:schemeClr val="bg1"/>
                </a:solidFill>
              </a:rPr>
              <a:t>Process &amp; system architecture mapping and analysis</a:t>
            </a:r>
          </a:p>
        </p:txBody>
      </p:sp>
      <p:sp>
        <p:nvSpPr>
          <p:cNvPr id="9" name="TextBox 8">
            <a:extLst>
              <a:ext uri="{FF2B5EF4-FFF2-40B4-BE49-F238E27FC236}">
                <a16:creationId xmlns:a16="http://schemas.microsoft.com/office/drawing/2014/main" id="{9C6D20C1-1A82-261E-7E16-8F0481FEF7FA}"/>
              </a:ext>
            </a:extLst>
          </p:cNvPr>
          <p:cNvSpPr txBox="1"/>
          <p:nvPr/>
        </p:nvSpPr>
        <p:spPr>
          <a:xfrm>
            <a:off x="10457758" y="5016708"/>
            <a:ext cx="1162432" cy="600164"/>
          </a:xfrm>
          <a:prstGeom prst="rect">
            <a:avLst/>
          </a:prstGeom>
          <a:noFill/>
        </p:spPr>
        <p:txBody>
          <a:bodyPr wrap="square" lIns="0" tIns="0" rIns="0" bIns="0" rtlCol="0">
            <a:spAutoFit/>
          </a:bodyPr>
          <a:lstStyle/>
          <a:p>
            <a:pPr>
              <a:spcBef>
                <a:spcPts val="600"/>
              </a:spcBef>
              <a:buSzPct val="100000"/>
            </a:pPr>
            <a:r>
              <a:rPr lang="en-NZ" sz="1300" dirty="0">
                <a:solidFill>
                  <a:schemeClr val="bg1"/>
                </a:solidFill>
              </a:rPr>
              <a:t>Support to regulator engagement</a:t>
            </a:r>
          </a:p>
        </p:txBody>
      </p:sp>
      <p:sp>
        <p:nvSpPr>
          <p:cNvPr id="11" name="TextBox 10">
            <a:extLst>
              <a:ext uri="{FF2B5EF4-FFF2-40B4-BE49-F238E27FC236}">
                <a16:creationId xmlns:a16="http://schemas.microsoft.com/office/drawing/2014/main" id="{C30320E3-B785-158A-1BE1-93783898DC09}"/>
              </a:ext>
            </a:extLst>
          </p:cNvPr>
          <p:cNvSpPr txBox="1"/>
          <p:nvPr/>
        </p:nvSpPr>
        <p:spPr>
          <a:xfrm>
            <a:off x="8821447" y="5016708"/>
            <a:ext cx="1162432" cy="400110"/>
          </a:xfrm>
          <a:prstGeom prst="rect">
            <a:avLst/>
          </a:prstGeom>
          <a:noFill/>
        </p:spPr>
        <p:txBody>
          <a:bodyPr wrap="square" lIns="0" tIns="0" rIns="0" bIns="0" rtlCol="0">
            <a:spAutoFit/>
          </a:bodyPr>
          <a:lstStyle/>
          <a:p>
            <a:pPr>
              <a:spcBef>
                <a:spcPts val="600"/>
              </a:spcBef>
              <a:buSzPct val="100000"/>
            </a:pPr>
            <a:r>
              <a:rPr lang="en-NZ" sz="1300" dirty="0">
                <a:solidFill>
                  <a:schemeClr val="bg1"/>
                </a:solidFill>
              </a:rPr>
              <a:t>Forensic accounting</a:t>
            </a:r>
          </a:p>
        </p:txBody>
      </p:sp>
      <p:sp>
        <p:nvSpPr>
          <p:cNvPr id="17" name="TextBox 16">
            <a:extLst>
              <a:ext uri="{FF2B5EF4-FFF2-40B4-BE49-F238E27FC236}">
                <a16:creationId xmlns:a16="http://schemas.microsoft.com/office/drawing/2014/main" id="{B055745E-0469-7BBA-C09F-5643CE3644BC}"/>
              </a:ext>
            </a:extLst>
          </p:cNvPr>
          <p:cNvSpPr txBox="1"/>
          <p:nvPr/>
        </p:nvSpPr>
        <p:spPr>
          <a:xfrm>
            <a:off x="944135" y="5016708"/>
            <a:ext cx="1511553" cy="1000274"/>
          </a:xfrm>
          <a:prstGeom prst="rect">
            <a:avLst/>
          </a:prstGeom>
          <a:noFill/>
        </p:spPr>
        <p:txBody>
          <a:bodyPr wrap="square" lIns="0" tIns="0" rIns="0" bIns="0" rtlCol="0">
            <a:spAutoFit/>
          </a:bodyPr>
          <a:lstStyle/>
          <a:p>
            <a:pPr>
              <a:buSzPct val="100000"/>
            </a:pPr>
            <a:r>
              <a:rPr lang="en-NZ" sz="1300" dirty="0">
                <a:solidFill>
                  <a:schemeClr val="bg1"/>
                </a:solidFill>
              </a:rPr>
              <a:t>Cleanse, analyse &amp; visualise large and complex data sets</a:t>
            </a:r>
          </a:p>
          <a:p>
            <a:pPr>
              <a:buSzPct val="100000"/>
            </a:pPr>
            <a:r>
              <a:rPr lang="en-GB" sz="1300" dirty="0">
                <a:solidFill>
                  <a:schemeClr val="bg1"/>
                </a:solidFill>
              </a:rPr>
              <a:t>(e.g. SQL, Python, Tableau,  Relativity)</a:t>
            </a:r>
            <a:r>
              <a:rPr lang="en-NZ" sz="1300" dirty="0">
                <a:solidFill>
                  <a:schemeClr val="bg1"/>
                </a:solidFill>
              </a:rPr>
              <a:t> </a:t>
            </a:r>
          </a:p>
        </p:txBody>
      </p:sp>
      <p:sp>
        <p:nvSpPr>
          <p:cNvPr id="22" name="Rectangle 21">
            <a:extLst>
              <a:ext uri="{FF2B5EF4-FFF2-40B4-BE49-F238E27FC236}">
                <a16:creationId xmlns:a16="http://schemas.microsoft.com/office/drawing/2014/main" id="{8E90F294-774A-21B7-DD63-C17A2838A9C7}"/>
              </a:ext>
            </a:extLst>
          </p:cNvPr>
          <p:cNvSpPr/>
          <p:nvPr/>
        </p:nvSpPr>
        <p:spPr>
          <a:xfrm>
            <a:off x="430550" y="4586238"/>
            <a:ext cx="11387135" cy="1591080"/>
          </a:xfrm>
          <a:prstGeom prst="rect">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23" name="TextBox 22">
            <a:extLst>
              <a:ext uri="{FF2B5EF4-FFF2-40B4-BE49-F238E27FC236}">
                <a16:creationId xmlns:a16="http://schemas.microsoft.com/office/drawing/2014/main" id="{F8CC5DE8-122C-413A-3582-C5A98FC81134}"/>
              </a:ext>
            </a:extLst>
          </p:cNvPr>
          <p:cNvSpPr txBox="1"/>
          <p:nvPr/>
        </p:nvSpPr>
        <p:spPr>
          <a:xfrm>
            <a:off x="4813262" y="4448588"/>
            <a:ext cx="2207578" cy="266492"/>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defPPr>
              <a:defRPr lang="en-US"/>
            </a:defPPr>
            <a:lvl1pPr algn="ctr">
              <a:defRPr sz="1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600" dirty="0"/>
              <a:t>Typical skills required</a:t>
            </a:r>
          </a:p>
        </p:txBody>
      </p:sp>
      <p:grpSp>
        <p:nvGrpSpPr>
          <p:cNvPr id="24" name="Graphic 4">
            <a:extLst>
              <a:ext uri="{FF2B5EF4-FFF2-40B4-BE49-F238E27FC236}">
                <a16:creationId xmlns:a16="http://schemas.microsoft.com/office/drawing/2014/main" id="{F6349FC2-A6B1-6C9F-240F-1C37EFAAC968}"/>
              </a:ext>
            </a:extLst>
          </p:cNvPr>
          <p:cNvGrpSpPr/>
          <p:nvPr/>
        </p:nvGrpSpPr>
        <p:grpSpPr>
          <a:xfrm>
            <a:off x="538435" y="5016708"/>
            <a:ext cx="296345" cy="282602"/>
            <a:chOff x="467743" y="4793256"/>
            <a:chExt cx="361670" cy="361971"/>
          </a:xfrm>
          <a:solidFill>
            <a:srgbClr val="007680"/>
          </a:solidFill>
        </p:grpSpPr>
        <p:sp>
          <p:nvSpPr>
            <p:cNvPr id="25" name="Graphic 4">
              <a:extLst>
                <a:ext uri="{FF2B5EF4-FFF2-40B4-BE49-F238E27FC236}">
                  <a16:creationId xmlns:a16="http://schemas.microsoft.com/office/drawing/2014/main" id="{4A1CA379-D1AA-FED8-DD19-E42768D8FEE8}"/>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26" name="Graphic 4">
              <a:extLst>
                <a:ext uri="{FF2B5EF4-FFF2-40B4-BE49-F238E27FC236}">
                  <a16:creationId xmlns:a16="http://schemas.microsoft.com/office/drawing/2014/main" id="{298A958B-11DF-73F8-F07A-AF7798E112B3}"/>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27" name="Graphic 4">
            <a:extLst>
              <a:ext uri="{FF2B5EF4-FFF2-40B4-BE49-F238E27FC236}">
                <a16:creationId xmlns:a16="http://schemas.microsoft.com/office/drawing/2014/main" id="{2344AF99-BB30-F4E2-C6B4-70FE93D0F15D}"/>
              </a:ext>
            </a:extLst>
          </p:cNvPr>
          <p:cNvGrpSpPr/>
          <p:nvPr/>
        </p:nvGrpSpPr>
        <p:grpSpPr>
          <a:xfrm>
            <a:off x="2584905" y="5016708"/>
            <a:ext cx="296345" cy="282602"/>
            <a:chOff x="467743" y="4793256"/>
            <a:chExt cx="361670" cy="361971"/>
          </a:xfrm>
          <a:solidFill>
            <a:srgbClr val="007680"/>
          </a:solidFill>
        </p:grpSpPr>
        <p:sp>
          <p:nvSpPr>
            <p:cNvPr id="28" name="Graphic 4">
              <a:extLst>
                <a:ext uri="{FF2B5EF4-FFF2-40B4-BE49-F238E27FC236}">
                  <a16:creationId xmlns:a16="http://schemas.microsoft.com/office/drawing/2014/main" id="{EE2A9A74-E411-5B56-3409-A0D8E2F72168}"/>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29" name="Graphic 4">
              <a:extLst>
                <a:ext uri="{FF2B5EF4-FFF2-40B4-BE49-F238E27FC236}">
                  <a16:creationId xmlns:a16="http://schemas.microsoft.com/office/drawing/2014/main" id="{0A8685E7-E2D5-0E0D-8EAE-A954277B33E4}"/>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30" name="Graphic 4">
            <a:extLst>
              <a:ext uri="{FF2B5EF4-FFF2-40B4-BE49-F238E27FC236}">
                <a16:creationId xmlns:a16="http://schemas.microsoft.com/office/drawing/2014/main" id="{6A9A6743-B3A9-3271-41FB-A1AECC0DBF95}"/>
              </a:ext>
            </a:extLst>
          </p:cNvPr>
          <p:cNvGrpSpPr/>
          <p:nvPr/>
        </p:nvGrpSpPr>
        <p:grpSpPr>
          <a:xfrm>
            <a:off x="10033369" y="5016708"/>
            <a:ext cx="296345" cy="282602"/>
            <a:chOff x="467743" y="4793256"/>
            <a:chExt cx="361670" cy="361971"/>
          </a:xfrm>
          <a:solidFill>
            <a:srgbClr val="007680"/>
          </a:solidFill>
        </p:grpSpPr>
        <p:sp>
          <p:nvSpPr>
            <p:cNvPr id="31" name="Graphic 4">
              <a:extLst>
                <a:ext uri="{FF2B5EF4-FFF2-40B4-BE49-F238E27FC236}">
                  <a16:creationId xmlns:a16="http://schemas.microsoft.com/office/drawing/2014/main" id="{6A1F735B-C000-C57F-4EB5-011CEBDF63EB}"/>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32" name="Graphic 4">
              <a:extLst>
                <a:ext uri="{FF2B5EF4-FFF2-40B4-BE49-F238E27FC236}">
                  <a16:creationId xmlns:a16="http://schemas.microsoft.com/office/drawing/2014/main" id="{A693C63C-E702-AA81-9427-C23755C9A41E}"/>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33" name="Graphic 4">
            <a:extLst>
              <a:ext uri="{FF2B5EF4-FFF2-40B4-BE49-F238E27FC236}">
                <a16:creationId xmlns:a16="http://schemas.microsoft.com/office/drawing/2014/main" id="{F66D9908-CE5F-A176-6C54-466FA963975F}"/>
              </a:ext>
            </a:extLst>
          </p:cNvPr>
          <p:cNvGrpSpPr/>
          <p:nvPr/>
        </p:nvGrpSpPr>
        <p:grpSpPr>
          <a:xfrm>
            <a:off x="8429346" y="5016708"/>
            <a:ext cx="296345" cy="282602"/>
            <a:chOff x="467743" y="4793256"/>
            <a:chExt cx="361670" cy="361971"/>
          </a:xfrm>
          <a:solidFill>
            <a:srgbClr val="007680"/>
          </a:solidFill>
        </p:grpSpPr>
        <p:sp>
          <p:nvSpPr>
            <p:cNvPr id="34" name="Graphic 4">
              <a:extLst>
                <a:ext uri="{FF2B5EF4-FFF2-40B4-BE49-F238E27FC236}">
                  <a16:creationId xmlns:a16="http://schemas.microsoft.com/office/drawing/2014/main" id="{96045D27-52BE-2855-92FC-0E576B90AC63}"/>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35" name="Graphic 4">
              <a:extLst>
                <a:ext uri="{FF2B5EF4-FFF2-40B4-BE49-F238E27FC236}">
                  <a16:creationId xmlns:a16="http://schemas.microsoft.com/office/drawing/2014/main" id="{A01C91A6-D515-9139-EC77-435779AC33DA}"/>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sp>
        <p:nvSpPr>
          <p:cNvPr id="76" name="TextBox 75">
            <a:extLst>
              <a:ext uri="{FF2B5EF4-FFF2-40B4-BE49-F238E27FC236}">
                <a16:creationId xmlns:a16="http://schemas.microsoft.com/office/drawing/2014/main" id="{DCA843FA-1F31-CE9E-650D-A16F2D6A6C89}"/>
              </a:ext>
            </a:extLst>
          </p:cNvPr>
          <p:cNvSpPr txBox="1"/>
          <p:nvPr/>
        </p:nvSpPr>
        <p:spPr>
          <a:xfrm>
            <a:off x="6911124" y="5016708"/>
            <a:ext cx="1246150" cy="400110"/>
          </a:xfrm>
          <a:prstGeom prst="rect">
            <a:avLst/>
          </a:prstGeom>
          <a:noFill/>
        </p:spPr>
        <p:txBody>
          <a:bodyPr wrap="square" lIns="0" tIns="0" rIns="0" bIns="0" rtlCol="0">
            <a:spAutoFit/>
          </a:bodyPr>
          <a:lstStyle/>
          <a:p>
            <a:pPr>
              <a:spcBef>
                <a:spcPts val="600"/>
              </a:spcBef>
              <a:buSzPct val="100000"/>
            </a:pPr>
            <a:r>
              <a:rPr lang="en-NZ" sz="1300" dirty="0">
                <a:solidFill>
                  <a:schemeClr val="bg1"/>
                </a:solidFill>
              </a:rPr>
              <a:t>Legal and compliance</a:t>
            </a:r>
          </a:p>
        </p:txBody>
      </p:sp>
      <p:grpSp>
        <p:nvGrpSpPr>
          <p:cNvPr id="77" name="Graphic 4">
            <a:extLst>
              <a:ext uri="{FF2B5EF4-FFF2-40B4-BE49-F238E27FC236}">
                <a16:creationId xmlns:a16="http://schemas.microsoft.com/office/drawing/2014/main" id="{B6C52226-9A25-A66E-932B-B30A93775D2C}"/>
              </a:ext>
            </a:extLst>
          </p:cNvPr>
          <p:cNvGrpSpPr/>
          <p:nvPr/>
        </p:nvGrpSpPr>
        <p:grpSpPr>
          <a:xfrm>
            <a:off x="6481203" y="5016708"/>
            <a:ext cx="296345" cy="282602"/>
            <a:chOff x="467743" y="4793256"/>
            <a:chExt cx="361670" cy="361971"/>
          </a:xfrm>
          <a:solidFill>
            <a:srgbClr val="007680"/>
          </a:solidFill>
        </p:grpSpPr>
        <p:sp>
          <p:nvSpPr>
            <p:cNvPr id="78" name="Graphic 4">
              <a:extLst>
                <a:ext uri="{FF2B5EF4-FFF2-40B4-BE49-F238E27FC236}">
                  <a16:creationId xmlns:a16="http://schemas.microsoft.com/office/drawing/2014/main" id="{F1B8A2CE-EC1C-52B1-3A77-7C7FFD0A15EA}"/>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79" name="Graphic 4">
              <a:extLst>
                <a:ext uri="{FF2B5EF4-FFF2-40B4-BE49-F238E27FC236}">
                  <a16:creationId xmlns:a16="http://schemas.microsoft.com/office/drawing/2014/main" id="{59851C05-5B51-D57E-B4BF-F9ED69DBA8BA}"/>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sp>
        <p:nvSpPr>
          <p:cNvPr id="80" name="TextBox 79">
            <a:extLst>
              <a:ext uri="{FF2B5EF4-FFF2-40B4-BE49-F238E27FC236}">
                <a16:creationId xmlns:a16="http://schemas.microsoft.com/office/drawing/2014/main" id="{A891D633-2ABA-BC0F-FF12-0BFAAD8D50F8}"/>
              </a:ext>
            </a:extLst>
          </p:cNvPr>
          <p:cNvSpPr txBox="1"/>
          <p:nvPr/>
        </p:nvSpPr>
        <p:spPr>
          <a:xfrm>
            <a:off x="5074148" y="5028545"/>
            <a:ext cx="1105482" cy="800219"/>
          </a:xfrm>
          <a:prstGeom prst="rect">
            <a:avLst/>
          </a:prstGeom>
          <a:noFill/>
        </p:spPr>
        <p:txBody>
          <a:bodyPr wrap="square" lIns="0" tIns="0" rIns="0" bIns="0" rtlCol="0">
            <a:spAutoFit/>
          </a:bodyPr>
          <a:lstStyle/>
          <a:p>
            <a:pPr>
              <a:buSzPct val="100000"/>
            </a:pPr>
            <a:r>
              <a:rPr lang="en-GB" sz="1300" dirty="0">
                <a:solidFill>
                  <a:schemeClr val="bg1"/>
                </a:solidFill>
              </a:rPr>
              <a:t>Leveraging technology as an accelerator </a:t>
            </a:r>
          </a:p>
          <a:p>
            <a:pPr>
              <a:buSzPct val="100000"/>
            </a:pPr>
            <a:r>
              <a:rPr lang="en-GB" sz="1300" dirty="0">
                <a:solidFill>
                  <a:schemeClr val="bg1"/>
                </a:solidFill>
              </a:rPr>
              <a:t>(incl. AI &amp; ML)</a:t>
            </a:r>
          </a:p>
        </p:txBody>
      </p:sp>
      <p:grpSp>
        <p:nvGrpSpPr>
          <p:cNvPr id="81" name="Graphic 4">
            <a:extLst>
              <a:ext uri="{FF2B5EF4-FFF2-40B4-BE49-F238E27FC236}">
                <a16:creationId xmlns:a16="http://schemas.microsoft.com/office/drawing/2014/main" id="{09469B84-60CC-B1FE-1E3D-543D94263BE4}"/>
              </a:ext>
            </a:extLst>
          </p:cNvPr>
          <p:cNvGrpSpPr/>
          <p:nvPr/>
        </p:nvGrpSpPr>
        <p:grpSpPr>
          <a:xfrm>
            <a:off x="4631378" y="5016708"/>
            <a:ext cx="262893" cy="282602"/>
            <a:chOff x="467743" y="4793256"/>
            <a:chExt cx="361670" cy="361971"/>
          </a:xfrm>
          <a:solidFill>
            <a:srgbClr val="007680"/>
          </a:solidFill>
        </p:grpSpPr>
        <p:sp>
          <p:nvSpPr>
            <p:cNvPr id="82" name="Graphic 4">
              <a:extLst>
                <a:ext uri="{FF2B5EF4-FFF2-40B4-BE49-F238E27FC236}">
                  <a16:creationId xmlns:a16="http://schemas.microsoft.com/office/drawing/2014/main" id="{D96FE71F-5AAC-AA4B-2475-3FE9F549E80F}"/>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83" name="Graphic 4">
              <a:extLst>
                <a:ext uri="{FF2B5EF4-FFF2-40B4-BE49-F238E27FC236}">
                  <a16:creationId xmlns:a16="http://schemas.microsoft.com/office/drawing/2014/main" id="{7459B52C-AFB7-E910-A699-5F311E6887BF}"/>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2810663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17" grpId="0"/>
      <p:bldP spid="22" grpId="0" animBg="1"/>
      <p:bldP spid="23" grpId="0" animBg="1"/>
      <p:bldP spid="76" grpId="0"/>
      <p:bldP spid="80" grpId="0"/>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1" name="Rectangle 150">
            <a:extLst>
              <a:ext uri="{FF2B5EF4-FFF2-40B4-BE49-F238E27FC236}">
                <a16:creationId xmlns:a16="http://schemas.microsoft.com/office/drawing/2014/main" id="{A74924E1-5D3A-4DBD-BC9E-A81FBCDB2916}"/>
              </a:ext>
            </a:extLst>
          </p:cNvPr>
          <p:cNvSpPr/>
          <p:nvPr/>
        </p:nvSpPr>
        <p:spPr bwMode="gray">
          <a:xfrm>
            <a:off x="8463137" y="1409016"/>
            <a:ext cx="1908313" cy="464777"/>
          </a:xfrm>
          <a:prstGeom prst="rect">
            <a:avLst/>
          </a:prstGeom>
          <a:solidFill>
            <a:srgbClr val="01216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152" name="Rectangle 151">
            <a:extLst>
              <a:ext uri="{FF2B5EF4-FFF2-40B4-BE49-F238E27FC236}">
                <a16:creationId xmlns:a16="http://schemas.microsoft.com/office/drawing/2014/main" id="{726151DC-12E9-455C-9DA6-EBD4D1CA2BF3}"/>
              </a:ext>
            </a:extLst>
          </p:cNvPr>
          <p:cNvSpPr/>
          <p:nvPr/>
        </p:nvSpPr>
        <p:spPr bwMode="gray">
          <a:xfrm>
            <a:off x="5192794" y="1395901"/>
            <a:ext cx="1908313" cy="464777"/>
          </a:xfrm>
          <a:prstGeom prst="rect">
            <a:avLst/>
          </a:prstGeom>
          <a:solidFill>
            <a:srgbClr val="0076A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153" name="Rectangle 152">
            <a:extLst>
              <a:ext uri="{FF2B5EF4-FFF2-40B4-BE49-F238E27FC236}">
                <a16:creationId xmlns:a16="http://schemas.microsoft.com/office/drawing/2014/main" id="{70F0B345-6AB4-498A-AA9C-90F29EE1B4AF}"/>
              </a:ext>
            </a:extLst>
          </p:cNvPr>
          <p:cNvSpPr/>
          <p:nvPr/>
        </p:nvSpPr>
        <p:spPr bwMode="gray">
          <a:xfrm>
            <a:off x="1767109" y="1404236"/>
            <a:ext cx="1908313" cy="464777"/>
          </a:xfrm>
          <a:prstGeom prst="rect">
            <a:avLst/>
          </a:prstGeom>
          <a:solidFill>
            <a:srgbClr val="62B5E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54" name="Group 153">
            <a:extLst>
              <a:ext uri="{FF2B5EF4-FFF2-40B4-BE49-F238E27FC236}">
                <a16:creationId xmlns:a16="http://schemas.microsoft.com/office/drawing/2014/main" id="{3132CF22-86C1-4DD9-9A2F-251549534AD4}"/>
              </a:ext>
            </a:extLst>
          </p:cNvPr>
          <p:cNvGrpSpPr/>
          <p:nvPr/>
        </p:nvGrpSpPr>
        <p:grpSpPr>
          <a:xfrm>
            <a:off x="3945785" y="3024955"/>
            <a:ext cx="4440001" cy="3215990"/>
            <a:chOff x="567554" y="1718528"/>
            <a:chExt cx="4440001" cy="3616804"/>
          </a:xfrm>
        </p:grpSpPr>
        <p:grpSp>
          <p:nvGrpSpPr>
            <p:cNvPr id="155" name="Group 154">
              <a:extLst>
                <a:ext uri="{FF2B5EF4-FFF2-40B4-BE49-F238E27FC236}">
                  <a16:creationId xmlns:a16="http://schemas.microsoft.com/office/drawing/2014/main" id="{AB548508-C2A9-43F6-BC99-D5953C3CA07B}"/>
                </a:ext>
              </a:extLst>
            </p:cNvPr>
            <p:cNvGrpSpPr/>
            <p:nvPr/>
          </p:nvGrpSpPr>
          <p:grpSpPr>
            <a:xfrm>
              <a:off x="567554" y="1718528"/>
              <a:ext cx="4440001" cy="3616804"/>
              <a:chOff x="567554" y="1869449"/>
              <a:chExt cx="4440001" cy="3616804"/>
            </a:xfrm>
          </p:grpSpPr>
          <p:sp>
            <p:nvSpPr>
              <p:cNvPr id="160" name="Freeform 12">
                <a:extLst>
                  <a:ext uri="{FF2B5EF4-FFF2-40B4-BE49-F238E27FC236}">
                    <a16:creationId xmlns:a16="http://schemas.microsoft.com/office/drawing/2014/main" id="{1A57E863-482F-4801-A077-38CB97793774}"/>
                  </a:ext>
                </a:extLst>
              </p:cNvPr>
              <p:cNvSpPr>
                <a:spLocks/>
              </p:cNvSpPr>
              <p:nvPr/>
            </p:nvSpPr>
            <p:spPr bwMode="gray">
              <a:xfrm flipH="1">
                <a:off x="591158" y="2294418"/>
                <a:ext cx="4392793" cy="1190299"/>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solidFill>
                <a:schemeClr val="accent1"/>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161" name="Oval 13">
                <a:extLst>
                  <a:ext uri="{FF2B5EF4-FFF2-40B4-BE49-F238E27FC236}">
                    <a16:creationId xmlns:a16="http://schemas.microsoft.com/office/drawing/2014/main" id="{1DB969EE-488E-40C9-8044-158016D8B896}"/>
                  </a:ext>
                </a:extLst>
              </p:cNvPr>
              <p:cNvSpPr>
                <a:spLocks noChangeArrowheads="1"/>
              </p:cNvSpPr>
              <p:nvPr/>
            </p:nvSpPr>
            <p:spPr bwMode="gray">
              <a:xfrm>
                <a:off x="567554" y="1869449"/>
                <a:ext cx="4440001" cy="620432"/>
              </a:xfrm>
              <a:prstGeom prst="ellipse">
                <a:avLst/>
              </a:prstGeom>
              <a:solidFill>
                <a:schemeClr val="bg1">
                  <a:lumMod val="85000"/>
                </a:schemeClr>
              </a:solidFill>
              <a:ln w="9525">
                <a:noFill/>
                <a:round/>
                <a:headEnd/>
                <a:tailEn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Light"/>
                  <a:ea typeface="+mn-ea"/>
                  <a:cs typeface="+mn-cs"/>
                </a:endParaRPr>
              </a:p>
            </p:txBody>
          </p:sp>
          <p:sp>
            <p:nvSpPr>
              <p:cNvPr id="162" name="Freeform 14">
                <a:extLst>
                  <a:ext uri="{FF2B5EF4-FFF2-40B4-BE49-F238E27FC236}">
                    <a16:creationId xmlns:a16="http://schemas.microsoft.com/office/drawing/2014/main" id="{81573671-E58C-44A5-8B54-CBE2670BFA7C}"/>
                  </a:ext>
                </a:extLst>
              </p:cNvPr>
              <p:cNvSpPr>
                <a:spLocks/>
              </p:cNvSpPr>
              <p:nvPr/>
            </p:nvSpPr>
            <p:spPr bwMode="gray">
              <a:xfrm>
                <a:off x="1084941" y="3289254"/>
                <a:ext cx="3405226" cy="12021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solidFill>
                <a:schemeClr val="accent2"/>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Light"/>
                  <a:ea typeface="+mn-ea"/>
                  <a:cs typeface="+mn-cs"/>
                </a:endParaRPr>
              </a:p>
            </p:txBody>
          </p:sp>
          <p:sp>
            <p:nvSpPr>
              <p:cNvPr id="163" name="Freeform 15">
                <a:extLst>
                  <a:ext uri="{FF2B5EF4-FFF2-40B4-BE49-F238E27FC236}">
                    <a16:creationId xmlns:a16="http://schemas.microsoft.com/office/drawing/2014/main" id="{1718E22F-0834-4B89-8D08-26F3406C9D53}"/>
                  </a:ext>
                </a:extLst>
              </p:cNvPr>
              <p:cNvSpPr>
                <a:spLocks/>
              </p:cNvSpPr>
              <p:nvPr/>
            </p:nvSpPr>
            <p:spPr bwMode="gray">
              <a:xfrm>
                <a:off x="1470710" y="4295954"/>
                <a:ext cx="2633689" cy="1190299"/>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solidFill>
                <a:schemeClr val="accent4"/>
              </a:solidFill>
              <a:ln w="9525" cap="flat" cmpd="sng">
                <a:noFill/>
                <a:prstDash val="solid"/>
                <a:round/>
                <a:headEnd type="none" w="med" len="med"/>
                <a:tailEnd type="none" w="med" len="med"/>
              </a:ln>
              <a:effectLst/>
            </p:spPr>
            <p:txBody>
              <a:bodyPr wrap="none" lIns="0" tIns="0" rIns="0" bIns="0" anchor="ctr"/>
              <a:lstStyle/>
              <a:p>
                <a:pPr marL="0" marR="0" lvl="0" indent="0" algn="ctr" defTabSz="914400" rtl="0" eaLnBrk="1" fontAlgn="auto" latinLnBrk="0" hangingPunct="1">
                  <a:lnSpc>
                    <a:spcPct val="100000"/>
                  </a:lnSpc>
                  <a:spcBef>
                    <a:spcPct val="5000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Light"/>
                  <a:ea typeface="+mn-ea"/>
                  <a:cs typeface="+mn-cs"/>
                </a:endParaRPr>
              </a:p>
            </p:txBody>
          </p:sp>
        </p:grpSp>
        <p:sp>
          <p:nvSpPr>
            <p:cNvPr id="156" name="Text Box 17">
              <a:extLst>
                <a:ext uri="{FF2B5EF4-FFF2-40B4-BE49-F238E27FC236}">
                  <a16:creationId xmlns:a16="http://schemas.microsoft.com/office/drawing/2014/main" id="{8631E542-F5DD-4A33-A76D-C79B0A6C08EC}"/>
                </a:ext>
              </a:extLst>
            </p:cNvPr>
            <p:cNvSpPr txBox="1">
              <a:spLocks noChangeArrowheads="1"/>
            </p:cNvSpPr>
            <p:nvPr/>
          </p:nvSpPr>
          <p:spPr bwMode="gray">
            <a:xfrm>
              <a:off x="1378778" y="2668869"/>
              <a:ext cx="2817549" cy="311522"/>
            </a:xfrm>
            <a:prstGeom prst="rect">
              <a:avLst/>
            </a:prstGeom>
            <a:noFill/>
            <a:ln w="9525">
              <a:noFill/>
              <a:miter lim="800000"/>
              <a:headEnd/>
              <a:tailEnd/>
            </a:ln>
          </p:spPr>
          <p:txBody>
            <a:bodyPr wrap="square" lIns="0" tIns="0" rIns="0" bIns="0" anchor="ctr">
              <a:spAutoFit/>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Lato" pitchFamily="34" charset="0"/>
                  <a:cs typeface="Lato" pitchFamily="34" charset="0"/>
                </a:rPr>
                <a:t>Relational database</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158" name="Text Box 17">
              <a:extLst>
                <a:ext uri="{FF2B5EF4-FFF2-40B4-BE49-F238E27FC236}">
                  <a16:creationId xmlns:a16="http://schemas.microsoft.com/office/drawing/2014/main" id="{C21FDAD6-18AB-47A3-9D2B-61181198D2F0}"/>
                </a:ext>
              </a:extLst>
            </p:cNvPr>
            <p:cNvSpPr txBox="1">
              <a:spLocks noChangeArrowheads="1"/>
            </p:cNvSpPr>
            <p:nvPr/>
          </p:nvSpPr>
          <p:spPr bwMode="gray">
            <a:xfrm>
              <a:off x="1378778" y="3514901"/>
              <a:ext cx="2817549" cy="623044"/>
            </a:xfrm>
            <a:prstGeom prst="rect">
              <a:avLst/>
            </a:prstGeom>
            <a:noFill/>
            <a:ln w="9525">
              <a:noFill/>
              <a:miter lim="800000"/>
              <a:headEnd/>
              <a:tailEnd/>
            </a:ln>
          </p:spPr>
          <p:txBody>
            <a:bodyPr wrap="square" lIns="0" tIns="0" rIns="0" bIns="0" anchor="ctr">
              <a:spAutoFit/>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Lato" pitchFamily="34" charset="0"/>
                  <a:cs typeface="Lato" pitchFamily="34" charset="0"/>
                </a:rPr>
                <a:t>Coding / AI /</a:t>
              </a:r>
            </a:p>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Lato" pitchFamily="34" charset="0"/>
                  <a:cs typeface="Lato" pitchFamily="34" charset="0"/>
                </a:rPr>
                <a:t>Machine Learning</a:t>
              </a:r>
              <a:endParaRPr kumimoji="0" lang="en-US"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159" name="Text Box 17">
              <a:extLst>
                <a:ext uri="{FF2B5EF4-FFF2-40B4-BE49-F238E27FC236}">
                  <a16:creationId xmlns:a16="http://schemas.microsoft.com/office/drawing/2014/main" id="{195223DB-BA93-4E0F-8275-912327E3B709}"/>
                </a:ext>
              </a:extLst>
            </p:cNvPr>
            <p:cNvSpPr txBox="1">
              <a:spLocks noChangeArrowheads="1"/>
            </p:cNvSpPr>
            <p:nvPr/>
          </p:nvSpPr>
          <p:spPr bwMode="gray">
            <a:xfrm>
              <a:off x="1883906" y="4561005"/>
              <a:ext cx="1867107" cy="553817"/>
            </a:xfrm>
            <a:prstGeom prst="rect">
              <a:avLst/>
            </a:prstGeom>
            <a:noFill/>
            <a:ln w="9525">
              <a:noFill/>
              <a:miter lim="800000"/>
              <a:headEnd/>
              <a:tailEnd/>
            </a:ln>
          </p:spPr>
          <p:txBody>
            <a:bodyPr wrap="square" lIns="0" tIns="0" rIns="0" bIns="0" anchor="ctr">
              <a:spAutoFit/>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Lato" pitchFamily="34" charset="0"/>
                  <a:cs typeface="Lato" pitchFamily="34" charset="0"/>
                </a:rPr>
                <a:t>Visualisation &amp; reporting</a:t>
              </a: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164" name="TextBox 163">
            <a:extLst>
              <a:ext uri="{FF2B5EF4-FFF2-40B4-BE49-F238E27FC236}">
                <a16:creationId xmlns:a16="http://schemas.microsoft.com/office/drawing/2014/main" id="{88E86F2F-6545-4765-BAD2-58A2E8DC6593}"/>
              </a:ext>
            </a:extLst>
          </p:cNvPr>
          <p:cNvSpPr txBox="1"/>
          <p:nvPr/>
        </p:nvSpPr>
        <p:spPr>
          <a:xfrm>
            <a:off x="2067719" y="1472267"/>
            <a:ext cx="1577593" cy="30777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2000" b="0" i="0" u="none" strike="noStrike" kern="1200" cap="none" spc="0" normalizeH="0" baseline="0" noProof="0" dirty="0">
                <a:ln>
                  <a:noFill/>
                </a:ln>
                <a:solidFill>
                  <a:prstClr val="white"/>
                </a:solidFill>
                <a:effectLst/>
                <a:uLnTx/>
                <a:uFillTx/>
                <a:latin typeface="Calibri"/>
                <a:ea typeface="+mn-ea"/>
                <a:cs typeface="+mn-cs"/>
              </a:rPr>
              <a:t>CRM System</a:t>
            </a:r>
          </a:p>
        </p:txBody>
      </p:sp>
      <p:sp>
        <p:nvSpPr>
          <p:cNvPr id="165" name="TextBox 164">
            <a:extLst>
              <a:ext uri="{FF2B5EF4-FFF2-40B4-BE49-F238E27FC236}">
                <a16:creationId xmlns:a16="http://schemas.microsoft.com/office/drawing/2014/main" id="{9479FB2A-6FC5-4466-8985-9644FA8C4129}"/>
              </a:ext>
            </a:extLst>
          </p:cNvPr>
          <p:cNvSpPr txBox="1"/>
          <p:nvPr/>
        </p:nvSpPr>
        <p:spPr>
          <a:xfrm>
            <a:off x="5281951" y="1460812"/>
            <a:ext cx="301546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2000" b="0" i="0" u="none" strike="noStrike" kern="1200" cap="none" spc="0" normalizeH="0" baseline="0" noProof="0" dirty="0">
                <a:ln>
                  <a:noFill/>
                </a:ln>
                <a:solidFill>
                  <a:prstClr val="white"/>
                </a:solidFill>
                <a:effectLst/>
                <a:uLnTx/>
                <a:uFillTx/>
                <a:latin typeface="Calibri"/>
                <a:ea typeface="+mn-ea"/>
                <a:cs typeface="+mn-cs"/>
              </a:rPr>
              <a:t>Financial System</a:t>
            </a:r>
          </a:p>
        </p:txBody>
      </p:sp>
      <p:sp>
        <p:nvSpPr>
          <p:cNvPr id="166" name="TextBox 165">
            <a:extLst>
              <a:ext uri="{FF2B5EF4-FFF2-40B4-BE49-F238E27FC236}">
                <a16:creationId xmlns:a16="http://schemas.microsoft.com/office/drawing/2014/main" id="{E04AB3F1-DF24-4A4F-8C83-DA77F175B402}"/>
              </a:ext>
            </a:extLst>
          </p:cNvPr>
          <p:cNvSpPr txBox="1"/>
          <p:nvPr/>
        </p:nvSpPr>
        <p:spPr>
          <a:xfrm>
            <a:off x="8936628" y="1483807"/>
            <a:ext cx="1192603"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GB" sz="2000" b="0" i="0" u="none" strike="noStrike" kern="1200" cap="none" spc="0" normalizeH="0" baseline="0" noProof="0" dirty="0">
                <a:ln>
                  <a:noFill/>
                </a:ln>
                <a:solidFill>
                  <a:prstClr val="white"/>
                </a:solidFill>
                <a:effectLst/>
                <a:uLnTx/>
                <a:uFillTx/>
                <a:latin typeface="Calibri"/>
                <a:ea typeface="+mn-ea"/>
                <a:cs typeface="+mn-cs"/>
              </a:rPr>
              <a:t>Contracts</a:t>
            </a:r>
          </a:p>
        </p:txBody>
      </p:sp>
      <p:cxnSp>
        <p:nvCxnSpPr>
          <p:cNvPr id="170" name="Connector: Curved 169">
            <a:extLst>
              <a:ext uri="{FF2B5EF4-FFF2-40B4-BE49-F238E27FC236}">
                <a16:creationId xmlns:a16="http://schemas.microsoft.com/office/drawing/2014/main" id="{F2988874-769D-40B7-B58C-17DB3CD75A45}"/>
              </a:ext>
            </a:extLst>
          </p:cNvPr>
          <p:cNvCxnSpPr>
            <a:cxnSpLocks/>
          </p:cNvCxnSpPr>
          <p:nvPr/>
        </p:nvCxnSpPr>
        <p:spPr>
          <a:xfrm rot="16200000" flipH="1">
            <a:off x="3006095" y="1575850"/>
            <a:ext cx="1057066" cy="1626722"/>
          </a:xfrm>
          <a:prstGeom prst="curvedConnector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Connector: Curved 170">
            <a:extLst>
              <a:ext uri="{FF2B5EF4-FFF2-40B4-BE49-F238E27FC236}">
                <a16:creationId xmlns:a16="http://schemas.microsoft.com/office/drawing/2014/main" id="{70CB1E88-FFFF-432A-8EF1-2CE41128DD70}"/>
              </a:ext>
            </a:extLst>
          </p:cNvPr>
          <p:cNvCxnSpPr>
            <a:cxnSpLocks/>
            <a:stCxn id="151" idx="2"/>
          </p:cNvCxnSpPr>
          <p:nvPr/>
        </p:nvCxnSpPr>
        <p:spPr>
          <a:xfrm rot="5400000">
            <a:off x="8229082" y="1719735"/>
            <a:ext cx="1034155" cy="1342270"/>
          </a:xfrm>
          <a:prstGeom prst="curvedConnector2">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6B5D5ACB-B81B-4B2B-BB88-9B47FB4CA8D5}"/>
              </a:ext>
            </a:extLst>
          </p:cNvPr>
          <p:cNvCxnSpPr>
            <a:stCxn id="152" idx="2"/>
          </p:cNvCxnSpPr>
          <p:nvPr/>
        </p:nvCxnSpPr>
        <p:spPr>
          <a:xfrm>
            <a:off x="6146951" y="1860678"/>
            <a:ext cx="10272" cy="710786"/>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9140BC2C-AD67-DFDE-02AA-02194FD356B8}"/>
              </a:ext>
            </a:extLst>
          </p:cNvPr>
          <p:cNvSpPr/>
          <p:nvPr/>
        </p:nvSpPr>
        <p:spPr bwMode="gray">
          <a:xfrm>
            <a:off x="7471621" y="2734219"/>
            <a:ext cx="576000" cy="576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dirty="0">
              <a:solidFill>
                <a:schemeClr val="bg1"/>
              </a:solidFill>
            </a:endParaRPr>
          </a:p>
        </p:txBody>
      </p:sp>
      <p:sp>
        <p:nvSpPr>
          <p:cNvPr id="3" name="Oval 2">
            <a:extLst>
              <a:ext uri="{FF2B5EF4-FFF2-40B4-BE49-F238E27FC236}">
                <a16:creationId xmlns:a16="http://schemas.microsoft.com/office/drawing/2014/main" id="{D10AB18C-0568-165C-4638-719EB7925B50}"/>
              </a:ext>
            </a:extLst>
          </p:cNvPr>
          <p:cNvSpPr/>
          <p:nvPr/>
        </p:nvSpPr>
        <p:spPr bwMode="gray">
          <a:xfrm>
            <a:off x="5869223" y="2604697"/>
            <a:ext cx="576000" cy="576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dirty="0">
              <a:solidFill>
                <a:schemeClr val="bg1"/>
              </a:solidFill>
            </a:endParaRPr>
          </a:p>
        </p:txBody>
      </p:sp>
      <p:sp>
        <p:nvSpPr>
          <p:cNvPr id="168" name="Freeform 5">
            <a:extLst>
              <a:ext uri="{FF2B5EF4-FFF2-40B4-BE49-F238E27FC236}">
                <a16:creationId xmlns:a16="http://schemas.microsoft.com/office/drawing/2014/main" id="{03AECAA7-0499-4EA8-8FBD-AE070B4F1147}"/>
              </a:ext>
            </a:extLst>
          </p:cNvPr>
          <p:cNvSpPr>
            <a:spLocks noEditPoints="1"/>
          </p:cNvSpPr>
          <p:nvPr/>
        </p:nvSpPr>
        <p:spPr bwMode="auto">
          <a:xfrm>
            <a:off x="7444219" y="2698464"/>
            <a:ext cx="630804" cy="648838"/>
          </a:xfrm>
          <a:custGeom>
            <a:avLst/>
            <a:gdLst>
              <a:gd name="T0" fmla="*/ 791 w 791"/>
              <a:gd name="T1" fmla="*/ 396 h 792"/>
              <a:gd name="T2" fmla="*/ 0 w 791"/>
              <a:gd name="T3" fmla="*/ 396 h 792"/>
              <a:gd name="T4" fmla="*/ 791 w 791"/>
              <a:gd name="T5" fmla="*/ 396 h 792"/>
              <a:gd name="T6" fmla="*/ 514 w 791"/>
              <a:gd name="T7" fmla="*/ 399 h 792"/>
              <a:gd name="T8" fmla="*/ 482 w 791"/>
              <a:gd name="T9" fmla="*/ 286 h 792"/>
              <a:gd name="T10" fmla="*/ 376 w 791"/>
              <a:gd name="T11" fmla="*/ 252 h 792"/>
              <a:gd name="T12" fmla="*/ 238 w 791"/>
              <a:gd name="T13" fmla="*/ 176 h 792"/>
              <a:gd name="T14" fmla="*/ 352 w 791"/>
              <a:gd name="T15" fmla="*/ 528 h 792"/>
              <a:gd name="T16" fmla="*/ 227 w 791"/>
              <a:gd name="T17" fmla="*/ 560 h 792"/>
              <a:gd name="T18" fmla="*/ 207 w 791"/>
              <a:gd name="T19" fmla="*/ 165 h 792"/>
              <a:gd name="T20" fmla="*/ 410 w 791"/>
              <a:gd name="T21" fmla="*/ 145 h 792"/>
              <a:gd name="T22" fmla="*/ 514 w 791"/>
              <a:gd name="T23" fmla="*/ 399 h 792"/>
              <a:gd name="T24" fmla="*/ 455 w 791"/>
              <a:gd name="T25" fmla="*/ 380 h 792"/>
              <a:gd name="T26" fmla="*/ 442 w 791"/>
              <a:gd name="T27" fmla="*/ 394 h 792"/>
              <a:gd name="T28" fmla="*/ 262 w 791"/>
              <a:gd name="T29" fmla="*/ 380 h 792"/>
              <a:gd name="T30" fmla="*/ 442 w 791"/>
              <a:gd name="T31" fmla="*/ 366 h 792"/>
              <a:gd name="T32" fmla="*/ 442 w 791"/>
              <a:gd name="T33" fmla="*/ 338 h 792"/>
              <a:gd name="T34" fmla="*/ 276 w 791"/>
              <a:gd name="T35" fmla="*/ 338 h 792"/>
              <a:gd name="T36" fmla="*/ 276 w 791"/>
              <a:gd name="T37" fmla="*/ 311 h 792"/>
              <a:gd name="T38" fmla="*/ 455 w 791"/>
              <a:gd name="T39" fmla="*/ 325 h 792"/>
              <a:gd name="T40" fmla="*/ 388 w 791"/>
              <a:gd name="T41" fmla="*/ 423 h 792"/>
              <a:gd name="T42" fmla="*/ 367 w 791"/>
              <a:gd name="T43" fmla="*/ 450 h 792"/>
              <a:gd name="T44" fmla="*/ 262 w 791"/>
              <a:gd name="T45" fmla="*/ 437 h 792"/>
              <a:gd name="T46" fmla="*/ 388 w 791"/>
              <a:gd name="T47" fmla="*/ 423 h 792"/>
              <a:gd name="T48" fmla="*/ 276 w 791"/>
              <a:gd name="T49" fmla="*/ 477 h 792"/>
              <a:gd name="T50" fmla="*/ 355 w 791"/>
              <a:gd name="T51" fmla="*/ 477 h 792"/>
              <a:gd name="T52" fmla="*/ 276 w 791"/>
              <a:gd name="T53" fmla="*/ 504 h 792"/>
              <a:gd name="T54" fmla="*/ 276 w 791"/>
              <a:gd name="T55" fmla="*/ 477 h 792"/>
              <a:gd name="T56" fmla="*/ 616 w 791"/>
              <a:gd name="T57" fmla="*/ 657 h 792"/>
              <a:gd name="T58" fmla="*/ 536 w 791"/>
              <a:gd name="T59" fmla="*/ 595 h 792"/>
              <a:gd name="T60" fmla="*/ 470 w 791"/>
              <a:gd name="T61" fmla="*/ 617 h 792"/>
              <a:gd name="T62" fmla="*/ 470 w 791"/>
              <a:gd name="T63" fmla="*/ 404 h 792"/>
              <a:gd name="T64" fmla="*/ 558 w 791"/>
              <a:gd name="T65" fmla="*/ 571 h 792"/>
              <a:gd name="T66" fmla="*/ 616 w 791"/>
              <a:gd name="T67" fmla="*/ 638 h 792"/>
              <a:gd name="T68" fmla="*/ 552 w 791"/>
              <a:gd name="T69" fmla="*/ 513 h 792"/>
              <a:gd name="T70" fmla="*/ 470 w 791"/>
              <a:gd name="T71" fmla="*/ 432 h 792"/>
              <a:gd name="T72" fmla="*/ 470 w 791"/>
              <a:gd name="T73" fmla="*/ 595 h 792"/>
              <a:gd name="T74" fmla="*/ 455 w 791"/>
              <a:gd name="T75" fmla="*/ 494 h 792"/>
              <a:gd name="T76" fmla="*/ 442 w 791"/>
              <a:gd name="T77" fmla="*/ 507 h 792"/>
              <a:gd name="T78" fmla="*/ 411 w 791"/>
              <a:gd name="T79" fmla="*/ 480 h 792"/>
              <a:gd name="T80" fmla="*/ 455 w 791"/>
              <a:gd name="T81" fmla="*/ 494 h 792"/>
              <a:gd name="T82" fmla="*/ 514 w 791"/>
              <a:gd name="T83" fmla="*/ 542 h 792"/>
              <a:gd name="T84" fmla="*/ 423 w 791"/>
              <a:gd name="T85" fmla="*/ 563 h 792"/>
              <a:gd name="T86" fmla="*/ 482 w 791"/>
              <a:gd name="T87" fmla="*/ 531 h 792"/>
              <a:gd name="T88" fmla="*/ 514 w 791"/>
              <a:gd name="T89" fmla="*/ 462 h 792"/>
              <a:gd name="T90" fmla="*/ 514 w 791"/>
              <a:gd name="T91" fmla="*/ 542 h 792"/>
              <a:gd name="T92" fmla="*/ 410 w 791"/>
              <a:gd name="T93" fmla="*/ 261 h 792"/>
              <a:gd name="T94" fmla="*/ 403 w 791"/>
              <a:gd name="T95" fmla="*/ 185 h 792"/>
              <a:gd name="T96" fmla="*/ 410 w 791"/>
              <a:gd name="T97" fmla="*/ 261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1" h="792">
                <a:moveTo>
                  <a:pt x="791" y="396"/>
                </a:moveTo>
                <a:lnTo>
                  <a:pt x="791" y="396"/>
                </a:lnTo>
                <a:cubicBezTo>
                  <a:pt x="791" y="178"/>
                  <a:pt x="614" y="0"/>
                  <a:pt x="395" y="0"/>
                </a:cubicBezTo>
                <a:cubicBezTo>
                  <a:pt x="177" y="0"/>
                  <a:pt x="0" y="178"/>
                  <a:pt x="0" y="396"/>
                </a:cubicBezTo>
                <a:cubicBezTo>
                  <a:pt x="0" y="615"/>
                  <a:pt x="177" y="792"/>
                  <a:pt x="395" y="792"/>
                </a:cubicBezTo>
                <a:cubicBezTo>
                  <a:pt x="614" y="792"/>
                  <a:pt x="791" y="615"/>
                  <a:pt x="791" y="396"/>
                </a:cubicBezTo>
                <a:close/>
                <a:moveTo>
                  <a:pt x="514" y="399"/>
                </a:moveTo>
                <a:lnTo>
                  <a:pt x="514" y="399"/>
                </a:lnTo>
                <a:cubicBezTo>
                  <a:pt x="504" y="395"/>
                  <a:pt x="493" y="393"/>
                  <a:pt x="482" y="392"/>
                </a:cubicBezTo>
                <a:lnTo>
                  <a:pt x="482" y="286"/>
                </a:lnTo>
                <a:lnTo>
                  <a:pt x="410" y="286"/>
                </a:lnTo>
                <a:cubicBezTo>
                  <a:pt x="391" y="286"/>
                  <a:pt x="376" y="270"/>
                  <a:pt x="376" y="252"/>
                </a:cubicBezTo>
                <a:lnTo>
                  <a:pt x="376" y="176"/>
                </a:lnTo>
                <a:lnTo>
                  <a:pt x="238" y="176"/>
                </a:lnTo>
                <a:lnTo>
                  <a:pt x="238" y="528"/>
                </a:lnTo>
                <a:lnTo>
                  <a:pt x="352" y="528"/>
                </a:lnTo>
                <a:cubicBezTo>
                  <a:pt x="353" y="540"/>
                  <a:pt x="356" y="550"/>
                  <a:pt x="361" y="560"/>
                </a:cubicBezTo>
                <a:lnTo>
                  <a:pt x="227" y="560"/>
                </a:lnTo>
                <a:cubicBezTo>
                  <a:pt x="216" y="560"/>
                  <a:pt x="207" y="551"/>
                  <a:pt x="207" y="540"/>
                </a:cubicBezTo>
                <a:lnTo>
                  <a:pt x="207" y="165"/>
                </a:lnTo>
                <a:cubicBezTo>
                  <a:pt x="207" y="154"/>
                  <a:pt x="216" y="145"/>
                  <a:pt x="227" y="145"/>
                </a:cubicBezTo>
                <a:lnTo>
                  <a:pt x="410" y="145"/>
                </a:lnTo>
                <a:lnTo>
                  <a:pt x="514" y="249"/>
                </a:lnTo>
                <a:lnTo>
                  <a:pt x="514" y="399"/>
                </a:lnTo>
                <a:lnTo>
                  <a:pt x="514" y="399"/>
                </a:lnTo>
                <a:close/>
                <a:moveTo>
                  <a:pt x="455" y="380"/>
                </a:moveTo>
                <a:lnTo>
                  <a:pt x="455" y="380"/>
                </a:lnTo>
                <a:cubicBezTo>
                  <a:pt x="455" y="387"/>
                  <a:pt x="449" y="394"/>
                  <a:pt x="442" y="394"/>
                </a:cubicBezTo>
                <a:lnTo>
                  <a:pt x="276" y="394"/>
                </a:lnTo>
                <a:cubicBezTo>
                  <a:pt x="268" y="394"/>
                  <a:pt x="262" y="387"/>
                  <a:pt x="262" y="380"/>
                </a:cubicBezTo>
                <a:cubicBezTo>
                  <a:pt x="262" y="372"/>
                  <a:pt x="268" y="366"/>
                  <a:pt x="276" y="366"/>
                </a:cubicBezTo>
                <a:lnTo>
                  <a:pt x="442" y="366"/>
                </a:lnTo>
                <a:cubicBezTo>
                  <a:pt x="449" y="366"/>
                  <a:pt x="455" y="372"/>
                  <a:pt x="455" y="380"/>
                </a:cubicBezTo>
                <a:close/>
                <a:moveTo>
                  <a:pt x="442" y="338"/>
                </a:moveTo>
                <a:lnTo>
                  <a:pt x="442" y="338"/>
                </a:lnTo>
                <a:lnTo>
                  <a:pt x="276" y="338"/>
                </a:lnTo>
                <a:cubicBezTo>
                  <a:pt x="268" y="338"/>
                  <a:pt x="262" y="332"/>
                  <a:pt x="262" y="325"/>
                </a:cubicBezTo>
                <a:cubicBezTo>
                  <a:pt x="262" y="317"/>
                  <a:pt x="268" y="311"/>
                  <a:pt x="276" y="311"/>
                </a:cubicBezTo>
                <a:lnTo>
                  <a:pt x="442" y="311"/>
                </a:lnTo>
                <a:cubicBezTo>
                  <a:pt x="449" y="311"/>
                  <a:pt x="455" y="317"/>
                  <a:pt x="455" y="325"/>
                </a:cubicBezTo>
                <a:cubicBezTo>
                  <a:pt x="455" y="332"/>
                  <a:pt x="449" y="338"/>
                  <a:pt x="442" y="338"/>
                </a:cubicBezTo>
                <a:close/>
                <a:moveTo>
                  <a:pt x="388" y="423"/>
                </a:moveTo>
                <a:lnTo>
                  <a:pt x="388" y="423"/>
                </a:lnTo>
                <a:cubicBezTo>
                  <a:pt x="380" y="431"/>
                  <a:pt x="373" y="440"/>
                  <a:pt x="367" y="450"/>
                </a:cubicBezTo>
                <a:lnTo>
                  <a:pt x="276" y="450"/>
                </a:lnTo>
                <a:cubicBezTo>
                  <a:pt x="268" y="450"/>
                  <a:pt x="262" y="444"/>
                  <a:pt x="262" y="437"/>
                </a:cubicBezTo>
                <a:cubicBezTo>
                  <a:pt x="262" y="429"/>
                  <a:pt x="268" y="423"/>
                  <a:pt x="276" y="423"/>
                </a:cubicBezTo>
                <a:lnTo>
                  <a:pt x="388" y="423"/>
                </a:lnTo>
                <a:lnTo>
                  <a:pt x="388" y="423"/>
                </a:lnTo>
                <a:close/>
                <a:moveTo>
                  <a:pt x="276" y="477"/>
                </a:moveTo>
                <a:lnTo>
                  <a:pt x="276" y="477"/>
                </a:lnTo>
                <a:lnTo>
                  <a:pt x="355" y="477"/>
                </a:lnTo>
                <a:cubicBezTo>
                  <a:pt x="353" y="486"/>
                  <a:pt x="351" y="495"/>
                  <a:pt x="350" y="504"/>
                </a:cubicBezTo>
                <a:lnTo>
                  <a:pt x="276" y="504"/>
                </a:lnTo>
                <a:cubicBezTo>
                  <a:pt x="268" y="504"/>
                  <a:pt x="262" y="498"/>
                  <a:pt x="262" y="491"/>
                </a:cubicBezTo>
                <a:cubicBezTo>
                  <a:pt x="262" y="483"/>
                  <a:pt x="268" y="477"/>
                  <a:pt x="276" y="477"/>
                </a:cubicBezTo>
                <a:close/>
                <a:moveTo>
                  <a:pt x="616" y="657"/>
                </a:moveTo>
                <a:lnTo>
                  <a:pt x="616" y="657"/>
                </a:lnTo>
                <a:cubicBezTo>
                  <a:pt x="611" y="662"/>
                  <a:pt x="602" y="662"/>
                  <a:pt x="597" y="657"/>
                </a:cubicBezTo>
                <a:lnTo>
                  <a:pt x="536" y="595"/>
                </a:lnTo>
                <a:lnTo>
                  <a:pt x="531" y="598"/>
                </a:lnTo>
                <a:cubicBezTo>
                  <a:pt x="513" y="611"/>
                  <a:pt x="492" y="617"/>
                  <a:pt x="470" y="617"/>
                </a:cubicBezTo>
                <a:cubicBezTo>
                  <a:pt x="411" y="617"/>
                  <a:pt x="363" y="570"/>
                  <a:pt x="363" y="511"/>
                </a:cubicBezTo>
                <a:cubicBezTo>
                  <a:pt x="363" y="452"/>
                  <a:pt x="411" y="404"/>
                  <a:pt x="470" y="404"/>
                </a:cubicBezTo>
                <a:cubicBezTo>
                  <a:pt x="529" y="404"/>
                  <a:pt x="577" y="452"/>
                  <a:pt x="577" y="511"/>
                </a:cubicBezTo>
                <a:cubicBezTo>
                  <a:pt x="577" y="532"/>
                  <a:pt x="570" y="553"/>
                  <a:pt x="558" y="571"/>
                </a:cubicBezTo>
                <a:lnTo>
                  <a:pt x="555" y="575"/>
                </a:lnTo>
                <a:lnTo>
                  <a:pt x="616" y="638"/>
                </a:lnTo>
                <a:cubicBezTo>
                  <a:pt x="621" y="643"/>
                  <a:pt x="621" y="652"/>
                  <a:pt x="616" y="657"/>
                </a:cubicBezTo>
                <a:close/>
                <a:moveTo>
                  <a:pt x="552" y="513"/>
                </a:moveTo>
                <a:lnTo>
                  <a:pt x="552" y="513"/>
                </a:lnTo>
                <a:cubicBezTo>
                  <a:pt x="552" y="468"/>
                  <a:pt x="515" y="432"/>
                  <a:pt x="470" y="432"/>
                </a:cubicBezTo>
                <a:cubicBezTo>
                  <a:pt x="425" y="432"/>
                  <a:pt x="388" y="468"/>
                  <a:pt x="388" y="513"/>
                </a:cubicBezTo>
                <a:cubicBezTo>
                  <a:pt x="388" y="559"/>
                  <a:pt x="425" y="595"/>
                  <a:pt x="470" y="595"/>
                </a:cubicBezTo>
                <a:cubicBezTo>
                  <a:pt x="515" y="595"/>
                  <a:pt x="552" y="559"/>
                  <a:pt x="552" y="513"/>
                </a:cubicBezTo>
                <a:close/>
                <a:moveTo>
                  <a:pt x="455" y="494"/>
                </a:moveTo>
                <a:lnTo>
                  <a:pt x="455" y="494"/>
                </a:lnTo>
                <a:cubicBezTo>
                  <a:pt x="455" y="501"/>
                  <a:pt x="449" y="507"/>
                  <a:pt x="442" y="507"/>
                </a:cubicBezTo>
                <a:lnTo>
                  <a:pt x="403" y="507"/>
                </a:lnTo>
                <a:cubicBezTo>
                  <a:pt x="403" y="497"/>
                  <a:pt x="406" y="488"/>
                  <a:pt x="411" y="480"/>
                </a:cubicBezTo>
                <a:lnTo>
                  <a:pt x="442" y="480"/>
                </a:lnTo>
                <a:cubicBezTo>
                  <a:pt x="449" y="480"/>
                  <a:pt x="455" y="486"/>
                  <a:pt x="455" y="494"/>
                </a:cubicBezTo>
                <a:close/>
                <a:moveTo>
                  <a:pt x="514" y="542"/>
                </a:moveTo>
                <a:lnTo>
                  <a:pt x="514" y="542"/>
                </a:lnTo>
                <a:cubicBezTo>
                  <a:pt x="514" y="554"/>
                  <a:pt x="505" y="563"/>
                  <a:pt x="494" y="563"/>
                </a:cubicBezTo>
                <a:lnTo>
                  <a:pt x="423" y="563"/>
                </a:lnTo>
                <a:cubicBezTo>
                  <a:pt x="414" y="554"/>
                  <a:pt x="408" y="543"/>
                  <a:pt x="405" y="531"/>
                </a:cubicBezTo>
                <a:lnTo>
                  <a:pt x="482" y="531"/>
                </a:lnTo>
                <a:lnTo>
                  <a:pt x="482" y="446"/>
                </a:lnTo>
                <a:cubicBezTo>
                  <a:pt x="494" y="449"/>
                  <a:pt x="505" y="454"/>
                  <a:pt x="514" y="462"/>
                </a:cubicBezTo>
                <a:lnTo>
                  <a:pt x="514" y="542"/>
                </a:lnTo>
                <a:lnTo>
                  <a:pt x="514" y="542"/>
                </a:lnTo>
                <a:close/>
                <a:moveTo>
                  <a:pt x="410" y="261"/>
                </a:moveTo>
                <a:lnTo>
                  <a:pt x="410" y="261"/>
                </a:lnTo>
                <a:lnTo>
                  <a:pt x="479" y="261"/>
                </a:lnTo>
                <a:lnTo>
                  <a:pt x="403" y="185"/>
                </a:lnTo>
                <a:lnTo>
                  <a:pt x="403" y="254"/>
                </a:lnTo>
                <a:cubicBezTo>
                  <a:pt x="403" y="258"/>
                  <a:pt x="406" y="261"/>
                  <a:pt x="410" y="261"/>
                </a:cubicBezTo>
                <a:close/>
              </a:path>
            </a:pathLst>
          </a:custGeom>
          <a:solidFill>
            <a:srgbClr val="01216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9" name="Freeform 5">
            <a:extLst>
              <a:ext uri="{FF2B5EF4-FFF2-40B4-BE49-F238E27FC236}">
                <a16:creationId xmlns:a16="http://schemas.microsoft.com/office/drawing/2014/main" id="{A7DA2364-0DE9-48A8-8EA1-24EA1F401419}"/>
              </a:ext>
            </a:extLst>
          </p:cNvPr>
          <p:cNvSpPr>
            <a:spLocks noEditPoints="1"/>
          </p:cNvSpPr>
          <p:nvPr/>
        </p:nvSpPr>
        <p:spPr bwMode="auto">
          <a:xfrm>
            <a:off x="5850384" y="2571464"/>
            <a:ext cx="630804" cy="648838"/>
          </a:xfrm>
          <a:custGeom>
            <a:avLst/>
            <a:gdLst>
              <a:gd name="T0" fmla="*/ 791 w 791"/>
              <a:gd name="T1" fmla="*/ 396 h 792"/>
              <a:gd name="T2" fmla="*/ 0 w 791"/>
              <a:gd name="T3" fmla="*/ 396 h 792"/>
              <a:gd name="T4" fmla="*/ 791 w 791"/>
              <a:gd name="T5" fmla="*/ 396 h 792"/>
              <a:gd name="T6" fmla="*/ 514 w 791"/>
              <a:gd name="T7" fmla="*/ 399 h 792"/>
              <a:gd name="T8" fmla="*/ 482 w 791"/>
              <a:gd name="T9" fmla="*/ 286 h 792"/>
              <a:gd name="T10" fmla="*/ 376 w 791"/>
              <a:gd name="T11" fmla="*/ 252 h 792"/>
              <a:gd name="T12" fmla="*/ 238 w 791"/>
              <a:gd name="T13" fmla="*/ 176 h 792"/>
              <a:gd name="T14" fmla="*/ 352 w 791"/>
              <a:gd name="T15" fmla="*/ 528 h 792"/>
              <a:gd name="T16" fmla="*/ 227 w 791"/>
              <a:gd name="T17" fmla="*/ 560 h 792"/>
              <a:gd name="T18" fmla="*/ 207 w 791"/>
              <a:gd name="T19" fmla="*/ 165 h 792"/>
              <a:gd name="T20" fmla="*/ 410 w 791"/>
              <a:gd name="T21" fmla="*/ 145 h 792"/>
              <a:gd name="T22" fmla="*/ 514 w 791"/>
              <a:gd name="T23" fmla="*/ 399 h 792"/>
              <a:gd name="T24" fmla="*/ 455 w 791"/>
              <a:gd name="T25" fmla="*/ 380 h 792"/>
              <a:gd name="T26" fmla="*/ 442 w 791"/>
              <a:gd name="T27" fmla="*/ 394 h 792"/>
              <a:gd name="T28" fmla="*/ 262 w 791"/>
              <a:gd name="T29" fmla="*/ 380 h 792"/>
              <a:gd name="T30" fmla="*/ 442 w 791"/>
              <a:gd name="T31" fmla="*/ 366 h 792"/>
              <a:gd name="T32" fmla="*/ 442 w 791"/>
              <a:gd name="T33" fmla="*/ 338 h 792"/>
              <a:gd name="T34" fmla="*/ 276 w 791"/>
              <a:gd name="T35" fmla="*/ 338 h 792"/>
              <a:gd name="T36" fmla="*/ 276 w 791"/>
              <a:gd name="T37" fmla="*/ 311 h 792"/>
              <a:gd name="T38" fmla="*/ 455 w 791"/>
              <a:gd name="T39" fmla="*/ 325 h 792"/>
              <a:gd name="T40" fmla="*/ 388 w 791"/>
              <a:gd name="T41" fmla="*/ 423 h 792"/>
              <a:gd name="T42" fmla="*/ 367 w 791"/>
              <a:gd name="T43" fmla="*/ 450 h 792"/>
              <a:gd name="T44" fmla="*/ 262 w 791"/>
              <a:gd name="T45" fmla="*/ 437 h 792"/>
              <a:gd name="T46" fmla="*/ 388 w 791"/>
              <a:gd name="T47" fmla="*/ 423 h 792"/>
              <a:gd name="T48" fmla="*/ 276 w 791"/>
              <a:gd name="T49" fmla="*/ 477 h 792"/>
              <a:gd name="T50" fmla="*/ 355 w 791"/>
              <a:gd name="T51" fmla="*/ 477 h 792"/>
              <a:gd name="T52" fmla="*/ 276 w 791"/>
              <a:gd name="T53" fmla="*/ 504 h 792"/>
              <a:gd name="T54" fmla="*/ 276 w 791"/>
              <a:gd name="T55" fmla="*/ 477 h 792"/>
              <a:gd name="T56" fmla="*/ 616 w 791"/>
              <a:gd name="T57" fmla="*/ 657 h 792"/>
              <a:gd name="T58" fmla="*/ 536 w 791"/>
              <a:gd name="T59" fmla="*/ 595 h 792"/>
              <a:gd name="T60" fmla="*/ 470 w 791"/>
              <a:gd name="T61" fmla="*/ 617 h 792"/>
              <a:gd name="T62" fmla="*/ 470 w 791"/>
              <a:gd name="T63" fmla="*/ 404 h 792"/>
              <a:gd name="T64" fmla="*/ 558 w 791"/>
              <a:gd name="T65" fmla="*/ 571 h 792"/>
              <a:gd name="T66" fmla="*/ 616 w 791"/>
              <a:gd name="T67" fmla="*/ 638 h 792"/>
              <a:gd name="T68" fmla="*/ 552 w 791"/>
              <a:gd name="T69" fmla="*/ 513 h 792"/>
              <a:gd name="T70" fmla="*/ 470 w 791"/>
              <a:gd name="T71" fmla="*/ 432 h 792"/>
              <a:gd name="T72" fmla="*/ 470 w 791"/>
              <a:gd name="T73" fmla="*/ 595 h 792"/>
              <a:gd name="T74" fmla="*/ 455 w 791"/>
              <a:gd name="T75" fmla="*/ 494 h 792"/>
              <a:gd name="T76" fmla="*/ 442 w 791"/>
              <a:gd name="T77" fmla="*/ 507 h 792"/>
              <a:gd name="T78" fmla="*/ 411 w 791"/>
              <a:gd name="T79" fmla="*/ 480 h 792"/>
              <a:gd name="T80" fmla="*/ 455 w 791"/>
              <a:gd name="T81" fmla="*/ 494 h 792"/>
              <a:gd name="T82" fmla="*/ 514 w 791"/>
              <a:gd name="T83" fmla="*/ 542 h 792"/>
              <a:gd name="T84" fmla="*/ 423 w 791"/>
              <a:gd name="T85" fmla="*/ 563 h 792"/>
              <a:gd name="T86" fmla="*/ 482 w 791"/>
              <a:gd name="T87" fmla="*/ 531 h 792"/>
              <a:gd name="T88" fmla="*/ 514 w 791"/>
              <a:gd name="T89" fmla="*/ 462 h 792"/>
              <a:gd name="T90" fmla="*/ 514 w 791"/>
              <a:gd name="T91" fmla="*/ 542 h 792"/>
              <a:gd name="T92" fmla="*/ 410 w 791"/>
              <a:gd name="T93" fmla="*/ 261 h 792"/>
              <a:gd name="T94" fmla="*/ 403 w 791"/>
              <a:gd name="T95" fmla="*/ 185 h 792"/>
              <a:gd name="T96" fmla="*/ 410 w 791"/>
              <a:gd name="T97" fmla="*/ 261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1" h="792">
                <a:moveTo>
                  <a:pt x="791" y="396"/>
                </a:moveTo>
                <a:lnTo>
                  <a:pt x="791" y="396"/>
                </a:lnTo>
                <a:cubicBezTo>
                  <a:pt x="791" y="178"/>
                  <a:pt x="614" y="0"/>
                  <a:pt x="395" y="0"/>
                </a:cubicBezTo>
                <a:cubicBezTo>
                  <a:pt x="177" y="0"/>
                  <a:pt x="0" y="178"/>
                  <a:pt x="0" y="396"/>
                </a:cubicBezTo>
                <a:cubicBezTo>
                  <a:pt x="0" y="615"/>
                  <a:pt x="177" y="792"/>
                  <a:pt x="395" y="792"/>
                </a:cubicBezTo>
                <a:cubicBezTo>
                  <a:pt x="614" y="792"/>
                  <a:pt x="791" y="615"/>
                  <a:pt x="791" y="396"/>
                </a:cubicBezTo>
                <a:close/>
                <a:moveTo>
                  <a:pt x="514" y="399"/>
                </a:moveTo>
                <a:lnTo>
                  <a:pt x="514" y="399"/>
                </a:lnTo>
                <a:cubicBezTo>
                  <a:pt x="504" y="395"/>
                  <a:pt x="493" y="393"/>
                  <a:pt x="482" y="392"/>
                </a:cubicBezTo>
                <a:lnTo>
                  <a:pt x="482" y="286"/>
                </a:lnTo>
                <a:lnTo>
                  <a:pt x="410" y="286"/>
                </a:lnTo>
                <a:cubicBezTo>
                  <a:pt x="391" y="286"/>
                  <a:pt x="376" y="270"/>
                  <a:pt x="376" y="252"/>
                </a:cubicBezTo>
                <a:lnTo>
                  <a:pt x="376" y="176"/>
                </a:lnTo>
                <a:lnTo>
                  <a:pt x="238" y="176"/>
                </a:lnTo>
                <a:lnTo>
                  <a:pt x="238" y="528"/>
                </a:lnTo>
                <a:lnTo>
                  <a:pt x="352" y="528"/>
                </a:lnTo>
                <a:cubicBezTo>
                  <a:pt x="353" y="540"/>
                  <a:pt x="356" y="550"/>
                  <a:pt x="361" y="560"/>
                </a:cubicBezTo>
                <a:lnTo>
                  <a:pt x="227" y="560"/>
                </a:lnTo>
                <a:cubicBezTo>
                  <a:pt x="216" y="560"/>
                  <a:pt x="207" y="551"/>
                  <a:pt x="207" y="540"/>
                </a:cubicBezTo>
                <a:lnTo>
                  <a:pt x="207" y="165"/>
                </a:lnTo>
                <a:cubicBezTo>
                  <a:pt x="207" y="154"/>
                  <a:pt x="216" y="145"/>
                  <a:pt x="227" y="145"/>
                </a:cubicBezTo>
                <a:lnTo>
                  <a:pt x="410" y="145"/>
                </a:lnTo>
                <a:lnTo>
                  <a:pt x="514" y="249"/>
                </a:lnTo>
                <a:lnTo>
                  <a:pt x="514" y="399"/>
                </a:lnTo>
                <a:lnTo>
                  <a:pt x="514" y="399"/>
                </a:lnTo>
                <a:close/>
                <a:moveTo>
                  <a:pt x="455" y="380"/>
                </a:moveTo>
                <a:lnTo>
                  <a:pt x="455" y="380"/>
                </a:lnTo>
                <a:cubicBezTo>
                  <a:pt x="455" y="387"/>
                  <a:pt x="449" y="394"/>
                  <a:pt x="442" y="394"/>
                </a:cubicBezTo>
                <a:lnTo>
                  <a:pt x="276" y="394"/>
                </a:lnTo>
                <a:cubicBezTo>
                  <a:pt x="268" y="394"/>
                  <a:pt x="262" y="387"/>
                  <a:pt x="262" y="380"/>
                </a:cubicBezTo>
                <a:cubicBezTo>
                  <a:pt x="262" y="372"/>
                  <a:pt x="268" y="366"/>
                  <a:pt x="276" y="366"/>
                </a:cubicBezTo>
                <a:lnTo>
                  <a:pt x="442" y="366"/>
                </a:lnTo>
                <a:cubicBezTo>
                  <a:pt x="449" y="366"/>
                  <a:pt x="455" y="372"/>
                  <a:pt x="455" y="380"/>
                </a:cubicBezTo>
                <a:close/>
                <a:moveTo>
                  <a:pt x="442" y="338"/>
                </a:moveTo>
                <a:lnTo>
                  <a:pt x="442" y="338"/>
                </a:lnTo>
                <a:lnTo>
                  <a:pt x="276" y="338"/>
                </a:lnTo>
                <a:cubicBezTo>
                  <a:pt x="268" y="338"/>
                  <a:pt x="262" y="332"/>
                  <a:pt x="262" y="325"/>
                </a:cubicBezTo>
                <a:cubicBezTo>
                  <a:pt x="262" y="317"/>
                  <a:pt x="268" y="311"/>
                  <a:pt x="276" y="311"/>
                </a:cubicBezTo>
                <a:lnTo>
                  <a:pt x="442" y="311"/>
                </a:lnTo>
                <a:cubicBezTo>
                  <a:pt x="449" y="311"/>
                  <a:pt x="455" y="317"/>
                  <a:pt x="455" y="325"/>
                </a:cubicBezTo>
                <a:cubicBezTo>
                  <a:pt x="455" y="332"/>
                  <a:pt x="449" y="338"/>
                  <a:pt x="442" y="338"/>
                </a:cubicBezTo>
                <a:close/>
                <a:moveTo>
                  <a:pt x="388" y="423"/>
                </a:moveTo>
                <a:lnTo>
                  <a:pt x="388" y="423"/>
                </a:lnTo>
                <a:cubicBezTo>
                  <a:pt x="380" y="431"/>
                  <a:pt x="373" y="440"/>
                  <a:pt x="367" y="450"/>
                </a:cubicBezTo>
                <a:lnTo>
                  <a:pt x="276" y="450"/>
                </a:lnTo>
                <a:cubicBezTo>
                  <a:pt x="268" y="450"/>
                  <a:pt x="262" y="444"/>
                  <a:pt x="262" y="437"/>
                </a:cubicBezTo>
                <a:cubicBezTo>
                  <a:pt x="262" y="429"/>
                  <a:pt x="268" y="423"/>
                  <a:pt x="276" y="423"/>
                </a:cubicBezTo>
                <a:lnTo>
                  <a:pt x="388" y="423"/>
                </a:lnTo>
                <a:lnTo>
                  <a:pt x="388" y="423"/>
                </a:lnTo>
                <a:close/>
                <a:moveTo>
                  <a:pt x="276" y="477"/>
                </a:moveTo>
                <a:lnTo>
                  <a:pt x="276" y="477"/>
                </a:lnTo>
                <a:lnTo>
                  <a:pt x="355" y="477"/>
                </a:lnTo>
                <a:cubicBezTo>
                  <a:pt x="353" y="486"/>
                  <a:pt x="351" y="495"/>
                  <a:pt x="350" y="504"/>
                </a:cubicBezTo>
                <a:lnTo>
                  <a:pt x="276" y="504"/>
                </a:lnTo>
                <a:cubicBezTo>
                  <a:pt x="268" y="504"/>
                  <a:pt x="262" y="498"/>
                  <a:pt x="262" y="491"/>
                </a:cubicBezTo>
                <a:cubicBezTo>
                  <a:pt x="262" y="483"/>
                  <a:pt x="268" y="477"/>
                  <a:pt x="276" y="477"/>
                </a:cubicBezTo>
                <a:close/>
                <a:moveTo>
                  <a:pt x="616" y="657"/>
                </a:moveTo>
                <a:lnTo>
                  <a:pt x="616" y="657"/>
                </a:lnTo>
                <a:cubicBezTo>
                  <a:pt x="611" y="662"/>
                  <a:pt x="602" y="662"/>
                  <a:pt x="597" y="657"/>
                </a:cubicBezTo>
                <a:lnTo>
                  <a:pt x="536" y="595"/>
                </a:lnTo>
                <a:lnTo>
                  <a:pt x="531" y="598"/>
                </a:lnTo>
                <a:cubicBezTo>
                  <a:pt x="513" y="611"/>
                  <a:pt x="492" y="617"/>
                  <a:pt x="470" y="617"/>
                </a:cubicBezTo>
                <a:cubicBezTo>
                  <a:pt x="411" y="617"/>
                  <a:pt x="363" y="570"/>
                  <a:pt x="363" y="511"/>
                </a:cubicBezTo>
                <a:cubicBezTo>
                  <a:pt x="363" y="452"/>
                  <a:pt x="411" y="404"/>
                  <a:pt x="470" y="404"/>
                </a:cubicBezTo>
                <a:cubicBezTo>
                  <a:pt x="529" y="404"/>
                  <a:pt x="577" y="452"/>
                  <a:pt x="577" y="511"/>
                </a:cubicBezTo>
                <a:cubicBezTo>
                  <a:pt x="577" y="532"/>
                  <a:pt x="570" y="553"/>
                  <a:pt x="558" y="571"/>
                </a:cubicBezTo>
                <a:lnTo>
                  <a:pt x="555" y="575"/>
                </a:lnTo>
                <a:lnTo>
                  <a:pt x="616" y="638"/>
                </a:lnTo>
                <a:cubicBezTo>
                  <a:pt x="621" y="643"/>
                  <a:pt x="621" y="652"/>
                  <a:pt x="616" y="657"/>
                </a:cubicBezTo>
                <a:close/>
                <a:moveTo>
                  <a:pt x="552" y="513"/>
                </a:moveTo>
                <a:lnTo>
                  <a:pt x="552" y="513"/>
                </a:lnTo>
                <a:cubicBezTo>
                  <a:pt x="552" y="468"/>
                  <a:pt x="515" y="432"/>
                  <a:pt x="470" y="432"/>
                </a:cubicBezTo>
                <a:cubicBezTo>
                  <a:pt x="425" y="432"/>
                  <a:pt x="388" y="468"/>
                  <a:pt x="388" y="513"/>
                </a:cubicBezTo>
                <a:cubicBezTo>
                  <a:pt x="388" y="559"/>
                  <a:pt x="425" y="595"/>
                  <a:pt x="470" y="595"/>
                </a:cubicBezTo>
                <a:cubicBezTo>
                  <a:pt x="515" y="595"/>
                  <a:pt x="552" y="559"/>
                  <a:pt x="552" y="513"/>
                </a:cubicBezTo>
                <a:close/>
                <a:moveTo>
                  <a:pt x="455" y="494"/>
                </a:moveTo>
                <a:lnTo>
                  <a:pt x="455" y="494"/>
                </a:lnTo>
                <a:cubicBezTo>
                  <a:pt x="455" y="501"/>
                  <a:pt x="449" y="507"/>
                  <a:pt x="442" y="507"/>
                </a:cubicBezTo>
                <a:lnTo>
                  <a:pt x="403" y="507"/>
                </a:lnTo>
                <a:cubicBezTo>
                  <a:pt x="403" y="497"/>
                  <a:pt x="406" y="488"/>
                  <a:pt x="411" y="480"/>
                </a:cubicBezTo>
                <a:lnTo>
                  <a:pt x="442" y="480"/>
                </a:lnTo>
                <a:cubicBezTo>
                  <a:pt x="449" y="480"/>
                  <a:pt x="455" y="486"/>
                  <a:pt x="455" y="494"/>
                </a:cubicBezTo>
                <a:close/>
                <a:moveTo>
                  <a:pt x="514" y="542"/>
                </a:moveTo>
                <a:lnTo>
                  <a:pt x="514" y="542"/>
                </a:lnTo>
                <a:cubicBezTo>
                  <a:pt x="514" y="554"/>
                  <a:pt x="505" y="563"/>
                  <a:pt x="494" y="563"/>
                </a:cubicBezTo>
                <a:lnTo>
                  <a:pt x="423" y="563"/>
                </a:lnTo>
                <a:cubicBezTo>
                  <a:pt x="414" y="554"/>
                  <a:pt x="408" y="543"/>
                  <a:pt x="405" y="531"/>
                </a:cubicBezTo>
                <a:lnTo>
                  <a:pt x="482" y="531"/>
                </a:lnTo>
                <a:lnTo>
                  <a:pt x="482" y="446"/>
                </a:lnTo>
                <a:cubicBezTo>
                  <a:pt x="494" y="449"/>
                  <a:pt x="505" y="454"/>
                  <a:pt x="514" y="462"/>
                </a:cubicBezTo>
                <a:lnTo>
                  <a:pt x="514" y="542"/>
                </a:lnTo>
                <a:lnTo>
                  <a:pt x="514" y="542"/>
                </a:lnTo>
                <a:close/>
                <a:moveTo>
                  <a:pt x="410" y="261"/>
                </a:moveTo>
                <a:lnTo>
                  <a:pt x="410" y="261"/>
                </a:lnTo>
                <a:lnTo>
                  <a:pt x="479" y="261"/>
                </a:lnTo>
                <a:lnTo>
                  <a:pt x="403" y="185"/>
                </a:lnTo>
                <a:lnTo>
                  <a:pt x="403" y="254"/>
                </a:lnTo>
                <a:cubicBezTo>
                  <a:pt x="403" y="258"/>
                  <a:pt x="406" y="261"/>
                  <a:pt x="410" y="261"/>
                </a:cubicBezTo>
                <a:close/>
              </a:path>
            </a:pathLst>
          </a:custGeom>
          <a:solidFill>
            <a:srgbClr val="0076A8"/>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Oval 3">
            <a:extLst>
              <a:ext uri="{FF2B5EF4-FFF2-40B4-BE49-F238E27FC236}">
                <a16:creationId xmlns:a16="http://schemas.microsoft.com/office/drawing/2014/main" id="{44D1E0EA-4475-5506-1837-F729617E92B9}"/>
              </a:ext>
            </a:extLst>
          </p:cNvPr>
          <p:cNvSpPr/>
          <p:nvPr/>
        </p:nvSpPr>
        <p:spPr bwMode="gray">
          <a:xfrm>
            <a:off x="4379525" y="2792394"/>
            <a:ext cx="576000" cy="576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dirty="0">
              <a:solidFill>
                <a:schemeClr val="bg1"/>
              </a:solidFill>
            </a:endParaRPr>
          </a:p>
        </p:txBody>
      </p:sp>
      <p:sp>
        <p:nvSpPr>
          <p:cNvPr id="167" name="Freeform 5">
            <a:extLst>
              <a:ext uri="{FF2B5EF4-FFF2-40B4-BE49-F238E27FC236}">
                <a16:creationId xmlns:a16="http://schemas.microsoft.com/office/drawing/2014/main" id="{00B8053B-E2B5-4F25-8184-6C2F9AC9C1A2}"/>
              </a:ext>
            </a:extLst>
          </p:cNvPr>
          <p:cNvSpPr>
            <a:spLocks noEditPoints="1"/>
          </p:cNvSpPr>
          <p:nvPr/>
        </p:nvSpPr>
        <p:spPr bwMode="auto">
          <a:xfrm>
            <a:off x="4347989" y="2760140"/>
            <a:ext cx="630804" cy="648838"/>
          </a:xfrm>
          <a:custGeom>
            <a:avLst/>
            <a:gdLst>
              <a:gd name="T0" fmla="*/ 791 w 791"/>
              <a:gd name="T1" fmla="*/ 396 h 792"/>
              <a:gd name="T2" fmla="*/ 0 w 791"/>
              <a:gd name="T3" fmla="*/ 396 h 792"/>
              <a:gd name="T4" fmla="*/ 791 w 791"/>
              <a:gd name="T5" fmla="*/ 396 h 792"/>
              <a:gd name="T6" fmla="*/ 514 w 791"/>
              <a:gd name="T7" fmla="*/ 399 h 792"/>
              <a:gd name="T8" fmla="*/ 482 w 791"/>
              <a:gd name="T9" fmla="*/ 286 h 792"/>
              <a:gd name="T10" fmla="*/ 376 w 791"/>
              <a:gd name="T11" fmla="*/ 252 h 792"/>
              <a:gd name="T12" fmla="*/ 238 w 791"/>
              <a:gd name="T13" fmla="*/ 176 h 792"/>
              <a:gd name="T14" fmla="*/ 352 w 791"/>
              <a:gd name="T15" fmla="*/ 528 h 792"/>
              <a:gd name="T16" fmla="*/ 227 w 791"/>
              <a:gd name="T17" fmla="*/ 560 h 792"/>
              <a:gd name="T18" fmla="*/ 207 w 791"/>
              <a:gd name="T19" fmla="*/ 165 h 792"/>
              <a:gd name="T20" fmla="*/ 410 w 791"/>
              <a:gd name="T21" fmla="*/ 145 h 792"/>
              <a:gd name="T22" fmla="*/ 514 w 791"/>
              <a:gd name="T23" fmla="*/ 399 h 792"/>
              <a:gd name="T24" fmla="*/ 455 w 791"/>
              <a:gd name="T25" fmla="*/ 380 h 792"/>
              <a:gd name="T26" fmla="*/ 442 w 791"/>
              <a:gd name="T27" fmla="*/ 394 h 792"/>
              <a:gd name="T28" fmla="*/ 262 w 791"/>
              <a:gd name="T29" fmla="*/ 380 h 792"/>
              <a:gd name="T30" fmla="*/ 442 w 791"/>
              <a:gd name="T31" fmla="*/ 366 h 792"/>
              <a:gd name="T32" fmla="*/ 442 w 791"/>
              <a:gd name="T33" fmla="*/ 338 h 792"/>
              <a:gd name="T34" fmla="*/ 276 w 791"/>
              <a:gd name="T35" fmla="*/ 338 h 792"/>
              <a:gd name="T36" fmla="*/ 276 w 791"/>
              <a:gd name="T37" fmla="*/ 311 h 792"/>
              <a:gd name="T38" fmla="*/ 455 w 791"/>
              <a:gd name="T39" fmla="*/ 325 h 792"/>
              <a:gd name="T40" fmla="*/ 388 w 791"/>
              <a:gd name="T41" fmla="*/ 423 h 792"/>
              <a:gd name="T42" fmla="*/ 367 w 791"/>
              <a:gd name="T43" fmla="*/ 450 h 792"/>
              <a:gd name="T44" fmla="*/ 262 w 791"/>
              <a:gd name="T45" fmla="*/ 437 h 792"/>
              <a:gd name="T46" fmla="*/ 388 w 791"/>
              <a:gd name="T47" fmla="*/ 423 h 792"/>
              <a:gd name="T48" fmla="*/ 276 w 791"/>
              <a:gd name="T49" fmla="*/ 477 h 792"/>
              <a:gd name="T50" fmla="*/ 355 w 791"/>
              <a:gd name="T51" fmla="*/ 477 h 792"/>
              <a:gd name="T52" fmla="*/ 276 w 791"/>
              <a:gd name="T53" fmla="*/ 504 h 792"/>
              <a:gd name="T54" fmla="*/ 276 w 791"/>
              <a:gd name="T55" fmla="*/ 477 h 792"/>
              <a:gd name="T56" fmla="*/ 616 w 791"/>
              <a:gd name="T57" fmla="*/ 657 h 792"/>
              <a:gd name="T58" fmla="*/ 536 w 791"/>
              <a:gd name="T59" fmla="*/ 595 h 792"/>
              <a:gd name="T60" fmla="*/ 470 w 791"/>
              <a:gd name="T61" fmla="*/ 617 h 792"/>
              <a:gd name="T62" fmla="*/ 470 w 791"/>
              <a:gd name="T63" fmla="*/ 404 h 792"/>
              <a:gd name="T64" fmla="*/ 558 w 791"/>
              <a:gd name="T65" fmla="*/ 571 h 792"/>
              <a:gd name="T66" fmla="*/ 616 w 791"/>
              <a:gd name="T67" fmla="*/ 638 h 792"/>
              <a:gd name="T68" fmla="*/ 552 w 791"/>
              <a:gd name="T69" fmla="*/ 513 h 792"/>
              <a:gd name="T70" fmla="*/ 470 w 791"/>
              <a:gd name="T71" fmla="*/ 432 h 792"/>
              <a:gd name="T72" fmla="*/ 470 w 791"/>
              <a:gd name="T73" fmla="*/ 595 h 792"/>
              <a:gd name="T74" fmla="*/ 455 w 791"/>
              <a:gd name="T75" fmla="*/ 494 h 792"/>
              <a:gd name="T76" fmla="*/ 442 w 791"/>
              <a:gd name="T77" fmla="*/ 507 h 792"/>
              <a:gd name="T78" fmla="*/ 411 w 791"/>
              <a:gd name="T79" fmla="*/ 480 h 792"/>
              <a:gd name="T80" fmla="*/ 455 w 791"/>
              <a:gd name="T81" fmla="*/ 494 h 792"/>
              <a:gd name="T82" fmla="*/ 514 w 791"/>
              <a:gd name="T83" fmla="*/ 542 h 792"/>
              <a:gd name="T84" fmla="*/ 423 w 791"/>
              <a:gd name="T85" fmla="*/ 563 h 792"/>
              <a:gd name="T86" fmla="*/ 482 w 791"/>
              <a:gd name="T87" fmla="*/ 531 h 792"/>
              <a:gd name="T88" fmla="*/ 514 w 791"/>
              <a:gd name="T89" fmla="*/ 462 h 792"/>
              <a:gd name="T90" fmla="*/ 514 w 791"/>
              <a:gd name="T91" fmla="*/ 542 h 792"/>
              <a:gd name="T92" fmla="*/ 410 w 791"/>
              <a:gd name="T93" fmla="*/ 261 h 792"/>
              <a:gd name="T94" fmla="*/ 403 w 791"/>
              <a:gd name="T95" fmla="*/ 185 h 792"/>
              <a:gd name="T96" fmla="*/ 410 w 791"/>
              <a:gd name="T97" fmla="*/ 261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1" h="792">
                <a:moveTo>
                  <a:pt x="791" y="396"/>
                </a:moveTo>
                <a:lnTo>
                  <a:pt x="791" y="396"/>
                </a:lnTo>
                <a:cubicBezTo>
                  <a:pt x="791" y="178"/>
                  <a:pt x="614" y="0"/>
                  <a:pt x="395" y="0"/>
                </a:cubicBezTo>
                <a:cubicBezTo>
                  <a:pt x="177" y="0"/>
                  <a:pt x="0" y="178"/>
                  <a:pt x="0" y="396"/>
                </a:cubicBezTo>
                <a:cubicBezTo>
                  <a:pt x="0" y="615"/>
                  <a:pt x="177" y="792"/>
                  <a:pt x="395" y="792"/>
                </a:cubicBezTo>
                <a:cubicBezTo>
                  <a:pt x="614" y="792"/>
                  <a:pt x="791" y="615"/>
                  <a:pt x="791" y="396"/>
                </a:cubicBezTo>
                <a:close/>
                <a:moveTo>
                  <a:pt x="514" y="399"/>
                </a:moveTo>
                <a:lnTo>
                  <a:pt x="514" y="399"/>
                </a:lnTo>
                <a:cubicBezTo>
                  <a:pt x="504" y="395"/>
                  <a:pt x="493" y="393"/>
                  <a:pt x="482" y="392"/>
                </a:cubicBezTo>
                <a:lnTo>
                  <a:pt x="482" y="286"/>
                </a:lnTo>
                <a:lnTo>
                  <a:pt x="410" y="286"/>
                </a:lnTo>
                <a:cubicBezTo>
                  <a:pt x="391" y="286"/>
                  <a:pt x="376" y="270"/>
                  <a:pt x="376" y="252"/>
                </a:cubicBezTo>
                <a:lnTo>
                  <a:pt x="376" y="176"/>
                </a:lnTo>
                <a:lnTo>
                  <a:pt x="238" y="176"/>
                </a:lnTo>
                <a:lnTo>
                  <a:pt x="238" y="528"/>
                </a:lnTo>
                <a:lnTo>
                  <a:pt x="352" y="528"/>
                </a:lnTo>
                <a:cubicBezTo>
                  <a:pt x="353" y="540"/>
                  <a:pt x="356" y="550"/>
                  <a:pt x="361" y="560"/>
                </a:cubicBezTo>
                <a:lnTo>
                  <a:pt x="227" y="560"/>
                </a:lnTo>
                <a:cubicBezTo>
                  <a:pt x="216" y="560"/>
                  <a:pt x="207" y="551"/>
                  <a:pt x="207" y="540"/>
                </a:cubicBezTo>
                <a:lnTo>
                  <a:pt x="207" y="165"/>
                </a:lnTo>
                <a:cubicBezTo>
                  <a:pt x="207" y="154"/>
                  <a:pt x="216" y="145"/>
                  <a:pt x="227" y="145"/>
                </a:cubicBezTo>
                <a:lnTo>
                  <a:pt x="410" y="145"/>
                </a:lnTo>
                <a:lnTo>
                  <a:pt x="514" y="249"/>
                </a:lnTo>
                <a:lnTo>
                  <a:pt x="514" y="399"/>
                </a:lnTo>
                <a:lnTo>
                  <a:pt x="514" y="399"/>
                </a:lnTo>
                <a:close/>
                <a:moveTo>
                  <a:pt x="455" y="380"/>
                </a:moveTo>
                <a:lnTo>
                  <a:pt x="455" y="380"/>
                </a:lnTo>
                <a:cubicBezTo>
                  <a:pt x="455" y="387"/>
                  <a:pt x="449" y="394"/>
                  <a:pt x="442" y="394"/>
                </a:cubicBezTo>
                <a:lnTo>
                  <a:pt x="276" y="394"/>
                </a:lnTo>
                <a:cubicBezTo>
                  <a:pt x="268" y="394"/>
                  <a:pt x="262" y="387"/>
                  <a:pt x="262" y="380"/>
                </a:cubicBezTo>
                <a:cubicBezTo>
                  <a:pt x="262" y="372"/>
                  <a:pt x="268" y="366"/>
                  <a:pt x="276" y="366"/>
                </a:cubicBezTo>
                <a:lnTo>
                  <a:pt x="442" y="366"/>
                </a:lnTo>
                <a:cubicBezTo>
                  <a:pt x="449" y="366"/>
                  <a:pt x="455" y="372"/>
                  <a:pt x="455" y="380"/>
                </a:cubicBezTo>
                <a:close/>
                <a:moveTo>
                  <a:pt x="442" y="338"/>
                </a:moveTo>
                <a:lnTo>
                  <a:pt x="442" y="338"/>
                </a:lnTo>
                <a:lnTo>
                  <a:pt x="276" y="338"/>
                </a:lnTo>
                <a:cubicBezTo>
                  <a:pt x="268" y="338"/>
                  <a:pt x="262" y="332"/>
                  <a:pt x="262" y="325"/>
                </a:cubicBezTo>
                <a:cubicBezTo>
                  <a:pt x="262" y="317"/>
                  <a:pt x="268" y="311"/>
                  <a:pt x="276" y="311"/>
                </a:cubicBezTo>
                <a:lnTo>
                  <a:pt x="442" y="311"/>
                </a:lnTo>
                <a:cubicBezTo>
                  <a:pt x="449" y="311"/>
                  <a:pt x="455" y="317"/>
                  <a:pt x="455" y="325"/>
                </a:cubicBezTo>
                <a:cubicBezTo>
                  <a:pt x="455" y="332"/>
                  <a:pt x="449" y="338"/>
                  <a:pt x="442" y="338"/>
                </a:cubicBezTo>
                <a:close/>
                <a:moveTo>
                  <a:pt x="388" y="423"/>
                </a:moveTo>
                <a:lnTo>
                  <a:pt x="388" y="423"/>
                </a:lnTo>
                <a:cubicBezTo>
                  <a:pt x="380" y="431"/>
                  <a:pt x="373" y="440"/>
                  <a:pt x="367" y="450"/>
                </a:cubicBezTo>
                <a:lnTo>
                  <a:pt x="276" y="450"/>
                </a:lnTo>
                <a:cubicBezTo>
                  <a:pt x="268" y="450"/>
                  <a:pt x="262" y="444"/>
                  <a:pt x="262" y="437"/>
                </a:cubicBezTo>
                <a:cubicBezTo>
                  <a:pt x="262" y="429"/>
                  <a:pt x="268" y="423"/>
                  <a:pt x="276" y="423"/>
                </a:cubicBezTo>
                <a:lnTo>
                  <a:pt x="388" y="423"/>
                </a:lnTo>
                <a:lnTo>
                  <a:pt x="388" y="423"/>
                </a:lnTo>
                <a:close/>
                <a:moveTo>
                  <a:pt x="276" y="477"/>
                </a:moveTo>
                <a:lnTo>
                  <a:pt x="276" y="477"/>
                </a:lnTo>
                <a:lnTo>
                  <a:pt x="355" y="477"/>
                </a:lnTo>
                <a:cubicBezTo>
                  <a:pt x="353" y="486"/>
                  <a:pt x="351" y="495"/>
                  <a:pt x="350" y="504"/>
                </a:cubicBezTo>
                <a:lnTo>
                  <a:pt x="276" y="504"/>
                </a:lnTo>
                <a:cubicBezTo>
                  <a:pt x="268" y="504"/>
                  <a:pt x="262" y="498"/>
                  <a:pt x="262" y="491"/>
                </a:cubicBezTo>
                <a:cubicBezTo>
                  <a:pt x="262" y="483"/>
                  <a:pt x="268" y="477"/>
                  <a:pt x="276" y="477"/>
                </a:cubicBezTo>
                <a:close/>
                <a:moveTo>
                  <a:pt x="616" y="657"/>
                </a:moveTo>
                <a:lnTo>
                  <a:pt x="616" y="657"/>
                </a:lnTo>
                <a:cubicBezTo>
                  <a:pt x="611" y="662"/>
                  <a:pt x="602" y="662"/>
                  <a:pt x="597" y="657"/>
                </a:cubicBezTo>
                <a:lnTo>
                  <a:pt x="536" y="595"/>
                </a:lnTo>
                <a:lnTo>
                  <a:pt x="531" y="598"/>
                </a:lnTo>
                <a:cubicBezTo>
                  <a:pt x="513" y="611"/>
                  <a:pt x="492" y="617"/>
                  <a:pt x="470" y="617"/>
                </a:cubicBezTo>
                <a:cubicBezTo>
                  <a:pt x="411" y="617"/>
                  <a:pt x="363" y="570"/>
                  <a:pt x="363" y="511"/>
                </a:cubicBezTo>
                <a:cubicBezTo>
                  <a:pt x="363" y="452"/>
                  <a:pt x="411" y="404"/>
                  <a:pt x="470" y="404"/>
                </a:cubicBezTo>
                <a:cubicBezTo>
                  <a:pt x="529" y="404"/>
                  <a:pt x="577" y="452"/>
                  <a:pt x="577" y="511"/>
                </a:cubicBezTo>
                <a:cubicBezTo>
                  <a:pt x="577" y="532"/>
                  <a:pt x="570" y="553"/>
                  <a:pt x="558" y="571"/>
                </a:cubicBezTo>
                <a:lnTo>
                  <a:pt x="555" y="575"/>
                </a:lnTo>
                <a:lnTo>
                  <a:pt x="616" y="638"/>
                </a:lnTo>
                <a:cubicBezTo>
                  <a:pt x="621" y="643"/>
                  <a:pt x="621" y="652"/>
                  <a:pt x="616" y="657"/>
                </a:cubicBezTo>
                <a:close/>
                <a:moveTo>
                  <a:pt x="552" y="513"/>
                </a:moveTo>
                <a:lnTo>
                  <a:pt x="552" y="513"/>
                </a:lnTo>
                <a:cubicBezTo>
                  <a:pt x="552" y="468"/>
                  <a:pt x="515" y="432"/>
                  <a:pt x="470" y="432"/>
                </a:cubicBezTo>
                <a:cubicBezTo>
                  <a:pt x="425" y="432"/>
                  <a:pt x="388" y="468"/>
                  <a:pt x="388" y="513"/>
                </a:cubicBezTo>
                <a:cubicBezTo>
                  <a:pt x="388" y="559"/>
                  <a:pt x="425" y="595"/>
                  <a:pt x="470" y="595"/>
                </a:cubicBezTo>
                <a:cubicBezTo>
                  <a:pt x="515" y="595"/>
                  <a:pt x="552" y="559"/>
                  <a:pt x="552" y="513"/>
                </a:cubicBezTo>
                <a:close/>
                <a:moveTo>
                  <a:pt x="455" y="494"/>
                </a:moveTo>
                <a:lnTo>
                  <a:pt x="455" y="494"/>
                </a:lnTo>
                <a:cubicBezTo>
                  <a:pt x="455" y="501"/>
                  <a:pt x="449" y="507"/>
                  <a:pt x="442" y="507"/>
                </a:cubicBezTo>
                <a:lnTo>
                  <a:pt x="403" y="507"/>
                </a:lnTo>
                <a:cubicBezTo>
                  <a:pt x="403" y="497"/>
                  <a:pt x="406" y="488"/>
                  <a:pt x="411" y="480"/>
                </a:cubicBezTo>
                <a:lnTo>
                  <a:pt x="442" y="480"/>
                </a:lnTo>
                <a:cubicBezTo>
                  <a:pt x="449" y="480"/>
                  <a:pt x="455" y="486"/>
                  <a:pt x="455" y="494"/>
                </a:cubicBezTo>
                <a:close/>
                <a:moveTo>
                  <a:pt x="514" y="542"/>
                </a:moveTo>
                <a:lnTo>
                  <a:pt x="514" y="542"/>
                </a:lnTo>
                <a:cubicBezTo>
                  <a:pt x="514" y="554"/>
                  <a:pt x="505" y="563"/>
                  <a:pt x="494" y="563"/>
                </a:cubicBezTo>
                <a:lnTo>
                  <a:pt x="423" y="563"/>
                </a:lnTo>
                <a:cubicBezTo>
                  <a:pt x="414" y="554"/>
                  <a:pt x="408" y="543"/>
                  <a:pt x="405" y="531"/>
                </a:cubicBezTo>
                <a:lnTo>
                  <a:pt x="482" y="531"/>
                </a:lnTo>
                <a:lnTo>
                  <a:pt x="482" y="446"/>
                </a:lnTo>
                <a:cubicBezTo>
                  <a:pt x="494" y="449"/>
                  <a:pt x="505" y="454"/>
                  <a:pt x="514" y="462"/>
                </a:cubicBezTo>
                <a:lnTo>
                  <a:pt x="514" y="542"/>
                </a:lnTo>
                <a:lnTo>
                  <a:pt x="514" y="542"/>
                </a:lnTo>
                <a:close/>
                <a:moveTo>
                  <a:pt x="410" y="261"/>
                </a:moveTo>
                <a:lnTo>
                  <a:pt x="410" y="261"/>
                </a:lnTo>
                <a:lnTo>
                  <a:pt x="479" y="261"/>
                </a:lnTo>
                <a:lnTo>
                  <a:pt x="403" y="185"/>
                </a:lnTo>
                <a:lnTo>
                  <a:pt x="403" y="254"/>
                </a:lnTo>
                <a:cubicBezTo>
                  <a:pt x="403" y="258"/>
                  <a:pt x="406" y="261"/>
                  <a:pt x="410" y="261"/>
                </a:cubicBezTo>
                <a:close/>
              </a:path>
            </a:pathLst>
          </a:custGeom>
          <a:solidFill>
            <a:srgbClr val="62B5E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extBox 5">
            <a:extLst>
              <a:ext uri="{FF2B5EF4-FFF2-40B4-BE49-F238E27FC236}">
                <a16:creationId xmlns:a16="http://schemas.microsoft.com/office/drawing/2014/main" id="{F7D26F0B-8852-E245-0BD7-CA5134A27677}"/>
              </a:ext>
            </a:extLst>
          </p:cNvPr>
          <p:cNvSpPr txBox="1"/>
          <p:nvPr/>
        </p:nvSpPr>
        <p:spPr>
          <a:xfrm>
            <a:off x="430550" y="323577"/>
            <a:ext cx="10738895" cy="461665"/>
          </a:xfrm>
          <a:prstGeom prst="rect">
            <a:avLst/>
          </a:prstGeom>
          <a:noFill/>
        </p:spPr>
        <p:txBody>
          <a:bodyPr wrap="square" rtlCol="0">
            <a:spAutoFit/>
          </a:bodyPr>
          <a:lstStyle/>
          <a:p>
            <a:r>
              <a:rPr lang="en-NZ" sz="2400" dirty="0">
                <a:solidFill>
                  <a:schemeClr val="bg1"/>
                </a:solidFill>
              </a:rPr>
              <a:t>Which </a:t>
            </a:r>
            <a:r>
              <a:rPr lang="en-NZ" sz="2400" dirty="0">
                <a:solidFill>
                  <a:srgbClr val="92D050"/>
                </a:solidFill>
              </a:rPr>
              <a:t>clients</a:t>
            </a:r>
            <a:r>
              <a:rPr lang="en-NZ" sz="2400" dirty="0">
                <a:solidFill>
                  <a:schemeClr val="bg1"/>
                </a:solidFill>
              </a:rPr>
              <a:t> had </a:t>
            </a:r>
            <a:r>
              <a:rPr lang="en-NZ" sz="2400" dirty="0">
                <a:solidFill>
                  <a:srgbClr val="92D050"/>
                </a:solidFill>
              </a:rPr>
              <a:t>loss making contracts </a:t>
            </a:r>
            <a:r>
              <a:rPr lang="en-NZ" sz="2400" dirty="0">
                <a:solidFill>
                  <a:schemeClr val="bg1"/>
                </a:solidFill>
              </a:rPr>
              <a:t>and what termination </a:t>
            </a:r>
            <a:r>
              <a:rPr lang="en-NZ" sz="2400" dirty="0">
                <a:solidFill>
                  <a:srgbClr val="92D050"/>
                </a:solidFill>
              </a:rPr>
              <a:t>clauses</a:t>
            </a:r>
            <a:r>
              <a:rPr lang="en-NZ" sz="2400" dirty="0">
                <a:solidFill>
                  <a:schemeClr val="bg1"/>
                </a:solidFill>
              </a:rPr>
              <a:t> applied? </a:t>
            </a:r>
          </a:p>
        </p:txBody>
      </p:sp>
    </p:spTree>
    <p:custDataLst>
      <p:custData r:id="rId1"/>
      <p:custData r:id="rId2"/>
    </p:custDataLst>
    <p:extLst>
      <p:ext uri="{BB962C8B-B14F-4D97-AF65-F5344CB8AC3E}">
        <p14:creationId xmlns:p14="http://schemas.microsoft.com/office/powerpoint/2010/main" val="12604735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3CA4A653-D8D4-4A73-9C32-55FA8F6AAAC4}"/>
              </a:ext>
            </a:extLst>
          </p:cNvPr>
          <p:cNvSpPr/>
          <p:nvPr/>
        </p:nvSpPr>
        <p:spPr bwMode="gray">
          <a:xfrm>
            <a:off x="7660585" y="1457525"/>
            <a:ext cx="3865699" cy="2340000"/>
          </a:xfrm>
          <a:prstGeom prst="rect">
            <a:avLst/>
          </a:prstGeom>
          <a:solidFill>
            <a:schemeClr val="tx1"/>
          </a:solidFill>
          <a:ln w="6350" algn="ctr">
            <a:solidFill>
              <a:schemeClr val="bg1">
                <a:lumMod val="8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noProof="0" dirty="0">
              <a:solidFill>
                <a:schemeClr val="bg1"/>
              </a:solidFill>
            </a:endParaRPr>
          </a:p>
        </p:txBody>
      </p:sp>
      <p:sp>
        <p:nvSpPr>
          <p:cNvPr id="7" name="Title 4">
            <a:extLst>
              <a:ext uri="{FF2B5EF4-FFF2-40B4-BE49-F238E27FC236}">
                <a16:creationId xmlns:a16="http://schemas.microsoft.com/office/drawing/2014/main" id="{9E70A59E-82CC-433F-86A8-632079125350}"/>
              </a:ext>
            </a:extLst>
          </p:cNvPr>
          <p:cNvSpPr>
            <a:spLocks noGrp="1"/>
          </p:cNvSpPr>
          <p:nvPr>
            <p:ph type="title"/>
          </p:nvPr>
        </p:nvSpPr>
        <p:spPr>
          <a:xfrm>
            <a:off x="500400" y="316800"/>
            <a:ext cx="9164950" cy="334102"/>
          </a:xfrm>
        </p:spPr>
        <p:txBody>
          <a:bodyPr/>
          <a:lstStyle/>
          <a:p>
            <a:r>
              <a:rPr lang="en-NZ" sz="2400" dirty="0">
                <a:solidFill>
                  <a:schemeClr val="bg1"/>
                </a:solidFill>
                <a:latin typeface="+mn-lt"/>
              </a:rPr>
              <a:t>Automated contract review</a:t>
            </a:r>
            <a:endParaRPr lang="en-NZ" sz="2400" dirty="0">
              <a:solidFill>
                <a:schemeClr val="bg1"/>
              </a:solidFill>
              <a:highlight>
                <a:srgbClr val="FFFF00"/>
              </a:highlight>
              <a:latin typeface="+mn-lt"/>
            </a:endParaRPr>
          </a:p>
        </p:txBody>
      </p:sp>
      <p:sp>
        <p:nvSpPr>
          <p:cNvPr id="8" name="TextBox 7">
            <a:extLst>
              <a:ext uri="{FF2B5EF4-FFF2-40B4-BE49-F238E27FC236}">
                <a16:creationId xmlns:a16="http://schemas.microsoft.com/office/drawing/2014/main" id="{C708DB60-B369-4444-8856-FF48DBD44CD9}"/>
              </a:ext>
            </a:extLst>
          </p:cNvPr>
          <p:cNvSpPr txBox="1"/>
          <p:nvPr/>
        </p:nvSpPr>
        <p:spPr>
          <a:xfrm>
            <a:off x="499755" y="719245"/>
            <a:ext cx="10009406" cy="246221"/>
          </a:xfrm>
          <a:prstGeom prst="rect">
            <a:avLst/>
          </a:prstGeom>
          <a:noFill/>
        </p:spPr>
        <p:txBody>
          <a:bodyPr wrap="square" lIns="0" tIns="0" rIns="0" bIns="0" rtlCol="0">
            <a:spAutoFit/>
          </a:bodyPr>
          <a:lstStyle/>
          <a:p>
            <a:pPr>
              <a:spcBef>
                <a:spcPts val="600"/>
              </a:spcBef>
              <a:buSzPct val="100000"/>
              <a:defRPr/>
            </a:pPr>
            <a:r>
              <a:rPr lang="en-NZ" sz="1600" dirty="0">
                <a:solidFill>
                  <a:schemeClr val="bg1">
                    <a:lumMod val="85000"/>
                  </a:schemeClr>
                </a:solidFill>
              </a:rPr>
              <a:t>AI can accelerate the initial identification of documents and extraction of key terms.</a:t>
            </a:r>
            <a:endParaRPr kumimoji="0" lang="en-NZ" sz="1600" b="0" i="0" u="none" strike="noStrike" kern="1200" cap="none" spc="0" normalizeH="0" baseline="0" noProof="0" dirty="0">
              <a:ln>
                <a:noFill/>
              </a:ln>
              <a:solidFill>
                <a:schemeClr val="bg1">
                  <a:lumMod val="85000"/>
                </a:schemeClr>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A1D5DB68-11E0-4394-9C41-1DE69326932B}"/>
              </a:ext>
            </a:extLst>
          </p:cNvPr>
          <p:cNvSpPr/>
          <p:nvPr/>
        </p:nvSpPr>
        <p:spPr bwMode="gray">
          <a:xfrm>
            <a:off x="3662154" y="1461378"/>
            <a:ext cx="3873517" cy="2340000"/>
          </a:xfrm>
          <a:prstGeom prst="rect">
            <a:avLst/>
          </a:prstGeom>
          <a:solidFill>
            <a:schemeClr val="tx1"/>
          </a:solidFill>
          <a:ln w="6350" algn="ctr">
            <a:solidFill>
              <a:schemeClr val="bg1">
                <a:lumMod val="8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noProof="0" dirty="0">
              <a:solidFill>
                <a:schemeClr val="bg1"/>
              </a:solidFill>
            </a:endParaRPr>
          </a:p>
        </p:txBody>
      </p:sp>
      <p:sp>
        <p:nvSpPr>
          <p:cNvPr id="14" name="Rectangle 13">
            <a:extLst>
              <a:ext uri="{FF2B5EF4-FFF2-40B4-BE49-F238E27FC236}">
                <a16:creationId xmlns:a16="http://schemas.microsoft.com/office/drawing/2014/main" id="{EA56ADBF-8461-4D18-88A5-3E0FBB86BDF9}"/>
              </a:ext>
            </a:extLst>
          </p:cNvPr>
          <p:cNvSpPr/>
          <p:nvPr/>
        </p:nvSpPr>
        <p:spPr bwMode="gray">
          <a:xfrm>
            <a:off x="7685309" y="3982239"/>
            <a:ext cx="3846344" cy="2340000"/>
          </a:xfrm>
          <a:prstGeom prst="rect">
            <a:avLst/>
          </a:prstGeom>
          <a:solidFill>
            <a:schemeClr val="tx1"/>
          </a:solidFill>
          <a:ln w="6350" algn="ctr">
            <a:solidFill>
              <a:schemeClr val="bg1">
                <a:lumMod val="8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noProof="0" dirty="0">
              <a:solidFill>
                <a:schemeClr val="bg1"/>
              </a:solidFill>
            </a:endParaRPr>
          </a:p>
        </p:txBody>
      </p:sp>
      <p:sp>
        <p:nvSpPr>
          <p:cNvPr id="15" name="Rectangle 14">
            <a:extLst>
              <a:ext uri="{FF2B5EF4-FFF2-40B4-BE49-F238E27FC236}">
                <a16:creationId xmlns:a16="http://schemas.microsoft.com/office/drawing/2014/main" id="{0FF184B4-81E2-4E27-B4F6-2D95845D457D}"/>
              </a:ext>
            </a:extLst>
          </p:cNvPr>
          <p:cNvSpPr/>
          <p:nvPr/>
        </p:nvSpPr>
        <p:spPr>
          <a:xfrm>
            <a:off x="4237581" y="3293880"/>
            <a:ext cx="2722660" cy="369332"/>
          </a:xfrm>
          <a:prstGeom prst="rect">
            <a:avLst/>
          </a:prstGeom>
          <a:noFill/>
        </p:spPr>
        <p:txBody>
          <a:bodyPr wrap="square" lIns="0" tIns="0" rIns="0" bIns="0">
            <a:spAutoFit/>
          </a:bodyPr>
          <a:lstStyle/>
          <a:p>
            <a:pPr algn="ctr"/>
            <a:r>
              <a:rPr lang="en-US" sz="1200" b="1" dirty="0">
                <a:solidFill>
                  <a:schemeClr val="bg1"/>
                </a:solidFill>
                <a:ea typeface="Verdana" charset="0"/>
                <a:cs typeface="Verdana" charset="0"/>
              </a:rPr>
              <a:t>Collection: </a:t>
            </a:r>
            <a:r>
              <a:rPr lang="en-US" sz="1200" dirty="0">
                <a:solidFill>
                  <a:schemeClr val="bg1"/>
                </a:solidFill>
                <a:ea typeface="Verdana" charset="0"/>
                <a:cs typeface="Verdana" charset="0"/>
              </a:rPr>
              <a:t>Identify and access relevant sources where contracts may be located</a:t>
            </a:r>
          </a:p>
        </p:txBody>
      </p:sp>
      <p:sp>
        <p:nvSpPr>
          <p:cNvPr id="55" name="Rectangle 54">
            <a:extLst>
              <a:ext uri="{FF2B5EF4-FFF2-40B4-BE49-F238E27FC236}">
                <a16:creationId xmlns:a16="http://schemas.microsoft.com/office/drawing/2014/main" id="{B3F90C48-BF2B-4D18-B652-4E2580B8C2DB}"/>
              </a:ext>
            </a:extLst>
          </p:cNvPr>
          <p:cNvSpPr/>
          <p:nvPr/>
        </p:nvSpPr>
        <p:spPr bwMode="gray">
          <a:xfrm>
            <a:off x="3553004" y="1394600"/>
            <a:ext cx="675503" cy="59811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NZ" sz="2800" b="1" noProof="0" dirty="0">
                <a:solidFill>
                  <a:schemeClr val="bg1"/>
                </a:solidFill>
              </a:rPr>
              <a:t>1</a:t>
            </a:r>
          </a:p>
        </p:txBody>
      </p:sp>
      <p:sp>
        <p:nvSpPr>
          <p:cNvPr id="56" name="Rectangle 55">
            <a:extLst>
              <a:ext uri="{FF2B5EF4-FFF2-40B4-BE49-F238E27FC236}">
                <a16:creationId xmlns:a16="http://schemas.microsoft.com/office/drawing/2014/main" id="{E14B0B3E-CB63-451E-964C-B93B5F8E94C6}"/>
              </a:ext>
            </a:extLst>
          </p:cNvPr>
          <p:cNvSpPr/>
          <p:nvPr/>
        </p:nvSpPr>
        <p:spPr bwMode="gray">
          <a:xfrm>
            <a:off x="7547143" y="1402813"/>
            <a:ext cx="675503" cy="59811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NZ" sz="2800" b="1" dirty="0">
                <a:solidFill>
                  <a:schemeClr val="bg1"/>
                </a:solidFill>
              </a:rPr>
              <a:t>2</a:t>
            </a:r>
            <a:endParaRPr lang="en-NZ" sz="2800" b="1" noProof="0" dirty="0">
              <a:solidFill>
                <a:schemeClr val="bg1"/>
              </a:solidFill>
            </a:endParaRPr>
          </a:p>
        </p:txBody>
      </p:sp>
      <p:sp>
        <p:nvSpPr>
          <p:cNvPr id="58" name="Rectangle 57">
            <a:extLst>
              <a:ext uri="{FF2B5EF4-FFF2-40B4-BE49-F238E27FC236}">
                <a16:creationId xmlns:a16="http://schemas.microsoft.com/office/drawing/2014/main" id="{0D3AD8FC-8F48-4DB4-9CDF-2191B0D600DF}"/>
              </a:ext>
            </a:extLst>
          </p:cNvPr>
          <p:cNvSpPr/>
          <p:nvPr/>
        </p:nvSpPr>
        <p:spPr>
          <a:xfrm>
            <a:off x="7839733" y="3272143"/>
            <a:ext cx="3567664" cy="369332"/>
          </a:xfrm>
          <a:prstGeom prst="rect">
            <a:avLst/>
          </a:prstGeom>
          <a:noFill/>
        </p:spPr>
        <p:txBody>
          <a:bodyPr wrap="square" lIns="0" tIns="0" rIns="0" bIns="0">
            <a:spAutoFit/>
          </a:bodyPr>
          <a:lstStyle/>
          <a:p>
            <a:pPr algn="ctr"/>
            <a:r>
              <a:rPr lang="en-US" sz="1200" b="1" dirty="0">
                <a:solidFill>
                  <a:schemeClr val="bg1"/>
                </a:solidFill>
                <a:ea typeface="Verdana" charset="0"/>
                <a:cs typeface="Verdana" charset="0"/>
              </a:rPr>
              <a:t>Document level: </a:t>
            </a:r>
            <a:r>
              <a:rPr lang="en-US" sz="1200" dirty="0">
                <a:solidFill>
                  <a:schemeClr val="bg1"/>
                </a:solidFill>
                <a:ea typeface="Verdana" charset="0"/>
                <a:cs typeface="Verdana" charset="0"/>
              </a:rPr>
              <a:t>Further refine in-scope documents through </a:t>
            </a:r>
            <a:r>
              <a:rPr lang="en-US" sz="1200" b="1" dirty="0">
                <a:solidFill>
                  <a:schemeClr val="bg1"/>
                </a:solidFill>
                <a:ea typeface="Verdana" charset="0"/>
                <a:cs typeface="Verdana" charset="0"/>
              </a:rPr>
              <a:t>targeted keyword searches</a:t>
            </a:r>
          </a:p>
        </p:txBody>
      </p:sp>
      <p:grpSp>
        <p:nvGrpSpPr>
          <p:cNvPr id="3" name="Group 2">
            <a:extLst>
              <a:ext uri="{FF2B5EF4-FFF2-40B4-BE49-F238E27FC236}">
                <a16:creationId xmlns:a16="http://schemas.microsoft.com/office/drawing/2014/main" id="{715EC9BF-00BF-401F-BD9F-8015021B7123}"/>
              </a:ext>
            </a:extLst>
          </p:cNvPr>
          <p:cNvGrpSpPr/>
          <p:nvPr/>
        </p:nvGrpSpPr>
        <p:grpSpPr>
          <a:xfrm>
            <a:off x="8652452" y="1911218"/>
            <a:ext cx="1569935" cy="949625"/>
            <a:chOff x="8011502" y="1854178"/>
            <a:chExt cx="1569935" cy="949625"/>
          </a:xfrm>
        </p:grpSpPr>
        <p:grpSp>
          <p:nvGrpSpPr>
            <p:cNvPr id="59" name="Group 58">
              <a:extLst>
                <a:ext uri="{FF2B5EF4-FFF2-40B4-BE49-F238E27FC236}">
                  <a16:creationId xmlns:a16="http://schemas.microsoft.com/office/drawing/2014/main" id="{C41092E6-1B49-44C9-A9DE-4B9A4CC02024}"/>
                </a:ext>
              </a:extLst>
            </p:cNvPr>
            <p:cNvGrpSpPr/>
            <p:nvPr/>
          </p:nvGrpSpPr>
          <p:grpSpPr>
            <a:xfrm>
              <a:off x="8011502" y="2185785"/>
              <a:ext cx="1569935" cy="618018"/>
              <a:chOff x="8344427" y="2709664"/>
              <a:chExt cx="1173909" cy="447334"/>
            </a:xfrm>
          </p:grpSpPr>
          <p:grpSp>
            <p:nvGrpSpPr>
              <p:cNvPr id="60" name="Group 336">
                <a:extLst>
                  <a:ext uri="{FF2B5EF4-FFF2-40B4-BE49-F238E27FC236}">
                    <a16:creationId xmlns:a16="http://schemas.microsoft.com/office/drawing/2014/main" id="{1FAF9046-A8AC-410A-8100-B18A8ED4F143}"/>
                  </a:ext>
                </a:extLst>
              </p:cNvPr>
              <p:cNvGrpSpPr>
                <a:grpSpLocks noChangeAspect="1"/>
              </p:cNvGrpSpPr>
              <p:nvPr/>
            </p:nvGrpSpPr>
            <p:grpSpPr bwMode="auto">
              <a:xfrm>
                <a:off x="8344427" y="2709664"/>
                <a:ext cx="363023" cy="447334"/>
                <a:chOff x="4312" y="1261"/>
                <a:chExt cx="156" cy="236"/>
              </a:xfrm>
              <a:solidFill>
                <a:schemeClr val="accent5">
                  <a:lumMod val="20000"/>
                  <a:lumOff val="80000"/>
                </a:schemeClr>
              </a:solidFill>
            </p:grpSpPr>
            <p:sp>
              <p:nvSpPr>
                <p:cNvPr id="73" name="Freeform 338">
                  <a:extLst>
                    <a:ext uri="{FF2B5EF4-FFF2-40B4-BE49-F238E27FC236}">
                      <a16:creationId xmlns:a16="http://schemas.microsoft.com/office/drawing/2014/main" id="{E36EC8DF-A187-40C9-B637-5D8B59F6B7D7}"/>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chemeClr val="accent6"/>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4" name="Freeform 339">
                  <a:extLst>
                    <a:ext uri="{FF2B5EF4-FFF2-40B4-BE49-F238E27FC236}">
                      <a16:creationId xmlns:a16="http://schemas.microsoft.com/office/drawing/2014/main" id="{CDF00ADF-A736-44B2-88FE-64E14EC68441}"/>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chemeClr val="tx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5" name="Freeform 340">
                  <a:extLst>
                    <a:ext uri="{FF2B5EF4-FFF2-40B4-BE49-F238E27FC236}">
                      <a16:creationId xmlns:a16="http://schemas.microsoft.com/office/drawing/2014/main" id="{DDE91764-5C41-4297-BC13-3E8BEC7C5BF4}"/>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solidFill>
                  <a:schemeClr val="tx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6" name="Freeform 341">
                  <a:extLst>
                    <a:ext uri="{FF2B5EF4-FFF2-40B4-BE49-F238E27FC236}">
                      <a16:creationId xmlns:a16="http://schemas.microsoft.com/office/drawing/2014/main" id="{8DD9E950-3AC0-4A1B-8209-50E2F7BBB743}"/>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solidFill>
                  <a:schemeClr val="tx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7" name="Freeform 342">
                  <a:extLst>
                    <a:ext uri="{FF2B5EF4-FFF2-40B4-BE49-F238E27FC236}">
                      <a16:creationId xmlns:a16="http://schemas.microsoft.com/office/drawing/2014/main" id="{4634AB38-0269-41D3-9DE4-38F97DE44914}"/>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chemeClr val="accent6">
                    <a:lumMod val="60000"/>
                    <a:lumOff val="40000"/>
                  </a:schemeClr>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61" name="Group 336">
                <a:extLst>
                  <a:ext uri="{FF2B5EF4-FFF2-40B4-BE49-F238E27FC236}">
                    <a16:creationId xmlns:a16="http://schemas.microsoft.com/office/drawing/2014/main" id="{FA759FC5-3F89-41D6-8F18-58C3F0D8E8F2}"/>
                  </a:ext>
                </a:extLst>
              </p:cNvPr>
              <p:cNvGrpSpPr>
                <a:grpSpLocks noChangeAspect="1"/>
              </p:cNvGrpSpPr>
              <p:nvPr/>
            </p:nvGrpSpPr>
            <p:grpSpPr bwMode="auto">
              <a:xfrm>
                <a:off x="8749870" y="2709664"/>
                <a:ext cx="363023" cy="447334"/>
                <a:chOff x="4312" y="1261"/>
                <a:chExt cx="156" cy="236"/>
              </a:xfrm>
              <a:solidFill>
                <a:schemeClr val="accent5">
                  <a:lumMod val="20000"/>
                  <a:lumOff val="80000"/>
                </a:schemeClr>
              </a:solidFill>
            </p:grpSpPr>
            <p:sp>
              <p:nvSpPr>
                <p:cNvPr id="68" name="Freeform 338">
                  <a:extLst>
                    <a:ext uri="{FF2B5EF4-FFF2-40B4-BE49-F238E27FC236}">
                      <a16:creationId xmlns:a16="http://schemas.microsoft.com/office/drawing/2014/main" id="{B698D813-CFC9-49B0-B2F4-BB6FA6EBFB7F}"/>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chemeClr val="accent6"/>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9" name="Freeform 339">
                  <a:extLst>
                    <a:ext uri="{FF2B5EF4-FFF2-40B4-BE49-F238E27FC236}">
                      <a16:creationId xmlns:a16="http://schemas.microsoft.com/office/drawing/2014/main" id="{9E0E9C3A-470D-466D-9455-206520B599B7}"/>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chemeClr val="tx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0" name="Freeform 340">
                  <a:extLst>
                    <a:ext uri="{FF2B5EF4-FFF2-40B4-BE49-F238E27FC236}">
                      <a16:creationId xmlns:a16="http://schemas.microsoft.com/office/drawing/2014/main" id="{CE0B5681-C1AF-490C-964C-6C6777544618}"/>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solidFill>
                  <a:schemeClr val="accent6">
                    <a:lumMod val="60000"/>
                    <a:lumOff val="40000"/>
                  </a:schemeClr>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1" name="Freeform 341">
                  <a:extLst>
                    <a:ext uri="{FF2B5EF4-FFF2-40B4-BE49-F238E27FC236}">
                      <a16:creationId xmlns:a16="http://schemas.microsoft.com/office/drawing/2014/main" id="{F6C77784-B016-4214-B07A-8BAE98A0B821}"/>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solidFill>
                  <a:schemeClr val="tx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2" name="Freeform 342">
                  <a:extLst>
                    <a:ext uri="{FF2B5EF4-FFF2-40B4-BE49-F238E27FC236}">
                      <a16:creationId xmlns:a16="http://schemas.microsoft.com/office/drawing/2014/main" id="{75A50DCB-21BB-4F78-B597-7472BB6FEBDD}"/>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chemeClr val="tx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62" name="Group 336">
                <a:extLst>
                  <a:ext uri="{FF2B5EF4-FFF2-40B4-BE49-F238E27FC236}">
                    <a16:creationId xmlns:a16="http://schemas.microsoft.com/office/drawing/2014/main" id="{59F4F4FB-350A-43C3-897C-E15A9BE5DF7F}"/>
                  </a:ext>
                </a:extLst>
              </p:cNvPr>
              <p:cNvGrpSpPr>
                <a:grpSpLocks noChangeAspect="1"/>
              </p:cNvGrpSpPr>
              <p:nvPr/>
            </p:nvGrpSpPr>
            <p:grpSpPr bwMode="auto">
              <a:xfrm>
                <a:off x="9155313" y="2709664"/>
                <a:ext cx="363023" cy="447334"/>
                <a:chOff x="4312" y="1261"/>
                <a:chExt cx="156" cy="236"/>
              </a:xfrm>
              <a:solidFill>
                <a:schemeClr val="accent5">
                  <a:lumMod val="20000"/>
                  <a:lumOff val="80000"/>
                </a:schemeClr>
              </a:solidFill>
            </p:grpSpPr>
            <p:sp>
              <p:nvSpPr>
                <p:cNvPr id="63" name="Freeform 338">
                  <a:extLst>
                    <a:ext uri="{FF2B5EF4-FFF2-40B4-BE49-F238E27FC236}">
                      <a16:creationId xmlns:a16="http://schemas.microsoft.com/office/drawing/2014/main" id="{E6D25C2F-BB48-4DE0-AF95-34CC87895171}"/>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chemeClr val="accent6"/>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4" name="Freeform 339">
                  <a:extLst>
                    <a:ext uri="{FF2B5EF4-FFF2-40B4-BE49-F238E27FC236}">
                      <a16:creationId xmlns:a16="http://schemas.microsoft.com/office/drawing/2014/main" id="{13A633B7-C7B3-4D9A-8187-6BA9EAE3E9DA}"/>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chemeClr val="tx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5" name="Freeform 340">
                  <a:extLst>
                    <a:ext uri="{FF2B5EF4-FFF2-40B4-BE49-F238E27FC236}">
                      <a16:creationId xmlns:a16="http://schemas.microsoft.com/office/drawing/2014/main" id="{7D3463AA-EDF1-49CB-A8EC-93F4440755BB}"/>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solidFill>
                  <a:schemeClr val="tx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6" name="Freeform 341">
                  <a:extLst>
                    <a:ext uri="{FF2B5EF4-FFF2-40B4-BE49-F238E27FC236}">
                      <a16:creationId xmlns:a16="http://schemas.microsoft.com/office/drawing/2014/main" id="{0E156547-0CBD-4272-9B8C-94EA3728B4F4}"/>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solidFill>
                  <a:schemeClr val="accent6">
                    <a:lumMod val="60000"/>
                    <a:lumOff val="40000"/>
                  </a:schemeClr>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7" name="Freeform 342">
                  <a:extLst>
                    <a:ext uri="{FF2B5EF4-FFF2-40B4-BE49-F238E27FC236}">
                      <a16:creationId xmlns:a16="http://schemas.microsoft.com/office/drawing/2014/main" id="{E1A168A7-8B1E-47E4-9D27-5F1F39FABE47}"/>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chemeClr val="tx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sp>
          <p:nvSpPr>
            <p:cNvPr id="78" name="Freeform 598">
              <a:extLst>
                <a:ext uri="{FF2B5EF4-FFF2-40B4-BE49-F238E27FC236}">
                  <a16:creationId xmlns:a16="http://schemas.microsoft.com/office/drawing/2014/main" id="{BD17601C-7AEF-4BF0-921B-75B0D6540CD2}"/>
                </a:ext>
              </a:extLst>
            </p:cNvPr>
            <p:cNvSpPr>
              <a:spLocks noChangeAspect="1" noEditPoints="1"/>
            </p:cNvSpPr>
            <p:nvPr/>
          </p:nvSpPr>
          <p:spPr bwMode="auto">
            <a:xfrm>
              <a:off x="8098641" y="1856392"/>
              <a:ext cx="261553" cy="2615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9" name="Freeform 598">
              <a:extLst>
                <a:ext uri="{FF2B5EF4-FFF2-40B4-BE49-F238E27FC236}">
                  <a16:creationId xmlns:a16="http://schemas.microsoft.com/office/drawing/2014/main" id="{5B2E5241-00FD-48FF-8CFD-A423EE0FC503}"/>
                </a:ext>
              </a:extLst>
            </p:cNvPr>
            <p:cNvSpPr>
              <a:spLocks noChangeAspect="1" noEditPoints="1"/>
            </p:cNvSpPr>
            <p:nvPr/>
          </p:nvSpPr>
          <p:spPr bwMode="auto">
            <a:xfrm>
              <a:off x="8662615" y="1854178"/>
              <a:ext cx="261553" cy="2615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0" name="Freeform 598">
              <a:extLst>
                <a:ext uri="{FF2B5EF4-FFF2-40B4-BE49-F238E27FC236}">
                  <a16:creationId xmlns:a16="http://schemas.microsoft.com/office/drawing/2014/main" id="{F6BE7653-0A69-4E7F-9C5A-5336DE131807}"/>
                </a:ext>
              </a:extLst>
            </p:cNvPr>
            <p:cNvSpPr>
              <a:spLocks noChangeAspect="1" noEditPoints="1"/>
            </p:cNvSpPr>
            <p:nvPr/>
          </p:nvSpPr>
          <p:spPr bwMode="auto">
            <a:xfrm>
              <a:off x="9183085" y="1856102"/>
              <a:ext cx="261553" cy="2615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81" name="Rectangle 80">
            <a:extLst>
              <a:ext uri="{FF2B5EF4-FFF2-40B4-BE49-F238E27FC236}">
                <a16:creationId xmlns:a16="http://schemas.microsoft.com/office/drawing/2014/main" id="{70C8D6CE-B245-4178-9D5C-D63B2C3D6EC3}"/>
              </a:ext>
            </a:extLst>
          </p:cNvPr>
          <p:cNvSpPr/>
          <p:nvPr/>
        </p:nvSpPr>
        <p:spPr>
          <a:xfrm>
            <a:off x="8023226" y="5813778"/>
            <a:ext cx="3313878" cy="369332"/>
          </a:xfrm>
          <a:prstGeom prst="rect">
            <a:avLst/>
          </a:prstGeom>
          <a:noFill/>
        </p:spPr>
        <p:txBody>
          <a:bodyPr wrap="square" lIns="0" tIns="0" rIns="0" bIns="0">
            <a:spAutoFit/>
          </a:bodyPr>
          <a:lstStyle/>
          <a:p>
            <a:pPr algn="ctr"/>
            <a:r>
              <a:rPr lang="en-US" sz="1200" b="1" dirty="0">
                <a:solidFill>
                  <a:schemeClr val="bg1"/>
                </a:solidFill>
                <a:ea typeface="Verdana" charset="0"/>
                <a:cs typeface="Verdana" charset="0"/>
              </a:rPr>
              <a:t>Within the document: </a:t>
            </a:r>
            <a:r>
              <a:rPr lang="en-US" sz="1200" dirty="0">
                <a:solidFill>
                  <a:schemeClr val="bg1"/>
                </a:solidFill>
                <a:ea typeface="Verdana" charset="0"/>
                <a:cs typeface="Verdana" charset="0"/>
              </a:rPr>
              <a:t>Identify and extract </a:t>
            </a:r>
            <a:r>
              <a:rPr lang="en-US" sz="1200" b="1" dirty="0">
                <a:solidFill>
                  <a:schemeClr val="bg1"/>
                </a:solidFill>
                <a:ea typeface="Verdana" charset="0"/>
                <a:cs typeface="Verdana" charset="0"/>
              </a:rPr>
              <a:t>key contractual clauses</a:t>
            </a:r>
          </a:p>
        </p:txBody>
      </p:sp>
      <p:grpSp>
        <p:nvGrpSpPr>
          <p:cNvPr id="5" name="Group 4">
            <a:extLst>
              <a:ext uri="{FF2B5EF4-FFF2-40B4-BE49-F238E27FC236}">
                <a16:creationId xmlns:a16="http://schemas.microsoft.com/office/drawing/2014/main" id="{F1D64E8C-7D86-9B1B-C01E-90BC28E973FB}"/>
              </a:ext>
            </a:extLst>
          </p:cNvPr>
          <p:cNvGrpSpPr/>
          <p:nvPr/>
        </p:nvGrpSpPr>
        <p:grpSpPr>
          <a:xfrm>
            <a:off x="3556421" y="3916876"/>
            <a:ext cx="3979249" cy="2392832"/>
            <a:chOff x="3556421" y="3916876"/>
            <a:chExt cx="3979249" cy="2392832"/>
          </a:xfrm>
        </p:grpSpPr>
        <p:sp>
          <p:nvSpPr>
            <p:cNvPr id="54" name="Rectangle 53">
              <a:extLst>
                <a:ext uri="{FF2B5EF4-FFF2-40B4-BE49-F238E27FC236}">
                  <a16:creationId xmlns:a16="http://schemas.microsoft.com/office/drawing/2014/main" id="{E9C06DF4-C734-40DA-9A58-06EE14B1FCC2}"/>
                </a:ext>
              </a:extLst>
            </p:cNvPr>
            <p:cNvSpPr/>
            <p:nvPr/>
          </p:nvSpPr>
          <p:spPr bwMode="gray">
            <a:xfrm>
              <a:off x="3662153" y="3969708"/>
              <a:ext cx="3873517" cy="2340000"/>
            </a:xfrm>
            <a:prstGeom prst="rect">
              <a:avLst/>
            </a:prstGeom>
            <a:solidFill>
              <a:schemeClr val="tx1"/>
            </a:solidFill>
            <a:ln w="6350" algn="ctr">
              <a:solidFill>
                <a:schemeClr val="bg1">
                  <a:lumMod val="8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noProof="0" dirty="0">
                <a:solidFill>
                  <a:schemeClr val="bg1"/>
                </a:solidFill>
              </a:endParaRPr>
            </a:p>
          </p:txBody>
        </p:sp>
        <p:sp>
          <p:nvSpPr>
            <p:cNvPr id="57" name="Rectangle 56">
              <a:extLst>
                <a:ext uri="{FF2B5EF4-FFF2-40B4-BE49-F238E27FC236}">
                  <a16:creationId xmlns:a16="http://schemas.microsoft.com/office/drawing/2014/main" id="{B98F630B-E240-42D7-94C4-50F3478CD6FE}"/>
                </a:ext>
              </a:extLst>
            </p:cNvPr>
            <p:cNvSpPr/>
            <p:nvPr/>
          </p:nvSpPr>
          <p:spPr bwMode="gray">
            <a:xfrm>
              <a:off x="3556421" y="3916876"/>
              <a:ext cx="675503" cy="59811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NZ" sz="2800" b="1" noProof="0" dirty="0">
                  <a:solidFill>
                    <a:schemeClr val="bg1"/>
                  </a:solidFill>
                </a:rPr>
                <a:t>3</a:t>
              </a:r>
            </a:p>
          </p:txBody>
        </p:sp>
        <p:sp>
          <p:nvSpPr>
            <p:cNvPr id="82" name="Rectangle 81">
              <a:extLst>
                <a:ext uri="{FF2B5EF4-FFF2-40B4-BE49-F238E27FC236}">
                  <a16:creationId xmlns:a16="http://schemas.microsoft.com/office/drawing/2014/main" id="{5B02F773-78EC-4DB5-87B9-5C93964CB818}"/>
                </a:ext>
              </a:extLst>
            </p:cNvPr>
            <p:cNvSpPr/>
            <p:nvPr/>
          </p:nvSpPr>
          <p:spPr>
            <a:xfrm>
              <a:off x="4082825" y="5820881"/>
              <a:ext cx="3032172" cy="369332"/>
            </a:xfrm>
            <a:prstGeom prst="rect">
              <a:avLst/>
            </a:prstGeom>
            <a:noFill/>
          </p:spPr>
          <p:txBody>
            <a:bodyPr wrap="square" lIns="0" tIns="0" rIns="0" bIns="0">
              <a:spAutoFit/>
            </a:bodyPr>
            <a:lstStyle/>
            <a:p>
              <a:pPr algn="ctr"/>
              <a:r>
                <a:rPr lang="en-US" sz="1200" b="1" dirty="0">
                  <a:solidFill>
                    <a:schemeClr val="bg1"/>
                  </a:solidFill>
                  <a:ea typeface="Verdana" charset="0"/>
                  <a:cs typeface="Verdana" charset="0"/>
                </a:rPr>
                <a:t>Document level: Auto-classify document types </a:t>
              </a:r>
              <a:r>
                <a:rPr lang="en-US" sz="1200" dirty="0">
                  <a:solidFill>
                    <a:schemeClr val="bg1"/>
                  </a:solidFill>
                  <a:ea typeface="Verdana" charset="0"/>
                  <a:cs typeface="Verdana" charset="0"/>
                </a:rPr>
                <a:t>to fast track contract identification</a:t>
              </a:r>
              <a:endParaRPr lang="en-US" sz="1200" b="1" dirty="0">
                <a:solidFill>
                  <a:schemeClr val="bg1"/>
                </a:solidFill>
                <a:ea typeface="Verdana" charset="0"/>
                <a:cs typeface="Verdana" charset="0"/>
              </a:endParaRPr>
            </a:p>
          </p:txBody>
        </p:sp>
        <p:sp>
          <p:nvSpPr>
            <p:cNvPr id="112" name="Rectangle 111">
              <a:extLst>
                <a:ext uri="{FF2B5EF4-FFF2-40B4-BE49-F238E27FC236}">
                  <a16:creationId xmlns:a16="http://schemas.microsoft.com/office/drawing/2014/main" id="{1B0DA988-A5FB-4EC3-84FF-586B5899CD94}"/>
                </a:ext>
              </a:extLst>
            </p:cNvPr>
            <p:cNvSpPr/>
            <p:nvPr/>
          </p:nvSpPr>
          <p:spPr>
            <a:xfrm>
              <a:off x="4147302" y="5383562"/>
              <a:ext cx="1428283" cy="215444"/>
            </a:xfrm>
            <a:prstGeom prst="rect">
              <a:avLst/>
            </a:prstGeom>
            <a:noFill/>
          </p:spPr>
          <p:txBody>
            <a:bodyPr wrap="square" lIns="0" tIns="0" rIns="0" bIns="0">
              <a:spAutoFit/>
            </a:bodyPr>
            <a:lstStyle/>
            <a:p>
              <a:pPr algn="ctr"/>
              <a:r>
                <a:rPr lang="en-US" sz="1400" dirty="0">
                  <a:solidFill>
                    <a:schemeClr val="bg1"/>
                  </a:solidFill>
                  <a:ea typeface="Verdana" charset="0"/>
                  <a:cs typeface="Verdana" charset="0"/>
                </a:rPr>
                <a:t>Contract</a:t>
              </a:r>
            </a:p>
          </p:txBody>
        </p:sp>
        <p:grpSp>
          <p:nvGrpSpPr>
            <p:cNvPr id="89" name="Group 336">
              <a:extLst>
                <a:ext uri="{FF2B5EF4-FFF2-40B4-BE49-F238E27FC236}">
                  <a16:creationId xmlns:a16="http://schemas.microsoft.com/office/drawing/2014/main" id="{89F58D66-AB33-412A-BEFC-B410B19B9963}"/>
                </a:ext>
              </a:extLst>
            </p:cNvPr>
            <p:cNvGrpSpPr>
              <a:grpSpLocks noChangeAspect="1"/>
            </p:cNvGrpSpPr>
            <p:nvPr/>
          </p:nvGrpSpPr>
          <p:grpSpPr bwMode="auto">
            <a:xfrm>
              <a:off x="4669062" y="4903263"/>
              <a:ext cx="387245" cy="482257"/>
              <a:chOff x="4312" y="1261"/>
              <a:chExt cx="156" cy="236"/>
            </a:xfrm>
            <a:solidFill>
              <a:schemeClr val="accent1"/>
            </a:solidFill>
          </p:grpSpPr>
          <p:sp>
            <p:nvSpPr>
              <p:cNvPr id="90" name="Freeform 338">
                <a:extLst>
                  <a:ext uri="{FF2B5EF4-FFF2-40B4-BE49-F238E27FC236}">
                    <a16:creationId xmlns:a16="http://schemas.microsoft.com/office/drawing/2014/main" id="{E9C0B43E-F2A2-49D7-ABD0-0F15F4FCB197}"/>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1" name="Freeform 339">
                <a:extLst>
                  <a:ext uri="{FF2B5EF4-FFF2-40B4-BE49-F238E27FC236}">
                    <a16:creationId xmlns:a16="http://schemas.microsoft.com/office/drawing/2014/main" id="{229785E8-2979-4EFA-9CCF-A21CD594C4FA}"/>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2" name="Freeform 340">
                <a:extLst>
                  <a:ext uri="{FF2B5EF4-FFF2-40B4-BE49-F238E27FC236}">
                    <a16:creationId xmlns:a16="http://schemas.microsoft.com/office/drawing/2014/main" id="{4EE14273-C014-44F0-A83D-7E7ECE79164A}"/>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3" name="Freeform 341">
                <a:extLst>
                  <a:ext uri="{FF2B5EF4-FFF2-40B4-BE49-F238E27FC236}">
                    <a16:creationId xmlns:a16="http://schemas.microsoft.com/office/drawing/2014/main" id="{A57F011D-B67E-4BD9-B7A0-FBC0E8AFA779}"/>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4" name="Freeform 342">
                <a:extLst>
                  <a:ext uri="{FF2B5EF4-FFF2-40B4-BE49-F238E27FC236}">
                    <a16:creationId xmlns:a16="http://schemas.microsoft.com/office/drawing/2014/main" id="{94D0BD92-CC6E-4977-8926-D1D9ED77FC3E}"/>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95" name="Group 336">
              <a:extLst>
                <a:ext uri="{FF2B5EF4-FFF2-40B4-BE49-F238E27FC236}">
                  <a16:creationId xmlns:a16="http://schemas.microsoft.com/office/drawing/2014/main" id="{3A1B9281-4C74-4DE1-A7D6-18D4D5978DA4}"/>
                </a:ext>
              </a:extLst>
            </p:cNvPr>
            <p:cNvGrpSpPr>
              <a:grpSpLocks noChangeAspect="1"/>
            </p:cNvGrpSpPr>
            <p:nvPr/>
          </p:nvGrpSpPr>
          <p:grpSpPr bwMode="auto">
            <a:xfrm>
              <a:off x="6438950" y="4908706"/>
              <a:ext cx="387245" cy="482257"/>
              <a:chOff x="4312" y="1261"/>
              <a:chExt cx="156" cy="236"/>
            </a:xfrm>
            <a:solidFill>
              <a:schemeClr val="bg1"/>
            </a:solidFill>
          </p:grpSpPr>
          <p:sp>
            <p:nvSpPr>
              <p:cNvPr id="96" name="Freeform 338">
                <a:extLst>
                  <a:ext uri="{FF2B5EF4-FFF2-40B4-BE49-F238E27FC236}">
                    <a16:creationId xmlns:a16="http://schemas.microsoft.com/office/drawing/2014/main" id="{CB825D86-D831-4B4B-A5BE-B051F89F29CA}"/>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7" name="Freeform 339">
                <a:extLst>
                  <a:ext uri="{FF2B5EF4-FFF2-40B4-BE49-F238E27FC236}">
                    <a16:creationId xmlns:a16="http://schemas.microsoft.com/office/drawing/2014/main" id="{21C784C9-B5EF-4FDE-BA16-F1140039C91F}"/>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8" name="Freeform 340">
                <a:extLst>
                  <a:ext uri="{FF2B5EF4-FFF2-40B4-BE49-F238E27FC236}">
                    <a16:creationId xmlns:a16="http://schemas.microsoft.com/office/drawing/2014/main" id="{198474FA-94C3-4670-BF30-EC4457AC8B02}"/>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99" name="Freeform 341">
                <a:extLst>
                  <a:ext uri="{FF2B5EF4-FFF2-40B4-BE49-F238E27FC236}">
                    <a16:creationId xmlns:a16="http://schemas.microsoft.com/office/drawing/2014/main" id="{9A5C09D7-9492-4638-8585-CC6275CBEE30}"/>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00" name="Freeform 342">
                <a:extLst>
                  <a:ext uri="{FF2B5EF4-FFF2-40B4-BE49-F238E27FC236}">
                    <a16:creationId xmlns:a16="http://schemas.microsoft.com/office/drawing/2014/main" id="{CEF4EAB8-9C4D-459E-860C-CAB45BA79607}"/>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101" name="Group 336">
              <a:extLst>
                <a:ext uri="{FF2B5EF4-FFF2-40B4-BE49-F238E27FC236}">
                  <a16:creationId xmlns:a16="http://schemas.microsoft.com/office/drawing/2014/main" id="{D833FC5A-FEE9-468A-B9EA-B3E711547347}"/>
                </a:ext>
              </a:extLst>
            </p:cNvPr>
            <p:cNvGrpSpPr>
              <a:grpSpLocks noChangeAspect="1"/>
            </p:cNvGrpSpPr>
            <p:nvPr/>
          </p:nvGrpSpPr>
          <p:grpSpPr bwMode="auto">
            <a:xfrm>
              <a:off x="5194354" y="4191498"/>
              <a:ext cx="425806" cy="530280"/>
              <a:chOff x="4312" y="1261"/>
              <a:chExt cx="156" cy="236"/>
            </a:xfrm>
            <a:solidFill>
              <a:schemeClr val="accent6">
                <a:lumMod val="60000"/>
                <a:lumOff val="40000"/>
              </a:schemeClr>
            </a:solidFill>
          </p:grpSpPr>
          <p:sp>
            <p:nvSpPr>
              <p:cNvPr id="102" name="Freeform 338">
                <a:extLst>
                  <a:ext uri="{FF2B5EF4-FFF2-40B4-BE49-F238E27FC236}">
                    <a16:creationId xmlns:a16="http://schemas.microsoft.com/office/drawing/2014/main" id="{0B86CEC4-D7A1-4F71-8EDF-2411FE22EBE7}"/>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03" name="Freeform 339">
                <a:extLst>
                  <a:ext uri="{FF2B5EF4-FFF2-40B4-BE49-F238E27FC236}">
                    <a16:creationId xmlns:a16="http://schemas.microsoft.com/office/drawing/2014/main" id="{E1192409-6D7E-41A7-A127-706F880E7E2E}"/>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04" name="Freeform 340">
                <a:extLst>
                  <a:ext uri="{FF2B5EF4-FFF2-40B4-BE49-F238E27FC236}">
                    <a16:creationId xmlns:a16="http://schemas.microsoft.com/office/drawing/2014/main" id="{FFC5C3FF-557C-41F5-89DA-AA82DD78707C}"/>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05" name="Freeform 341">
                <a:extLst>
                  <a:ext uri="{FF2B5EF4-FFF2-40B4-BE49-F238E27FC236}">
                    <a16:creationId xmlns:a16="http://schemas.microsoft.com/office/drawing/2014/main" id="{746F0BDB-C76A-466F-A307-5AA1D73A5333}"/>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06" name="Freeform 342">
                <a:extLst>
                  <a:ext uri="{FF2B5EF4-FFF2-40B4-BE49-F238E27FC236}">
                    <a16:creationId xmlns:a16="http://schemas.microsoft.com/office/drawing/2014/main" id="{EED96A65-852F-4413-8C28-550A4FA14287}"/>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nvGrpSpPr>
            <p:cNvPr id="107" name="Group 106">
              <a:extLst>
                <a:ext uri="{FF2B5EF4-FFF2-40B4-BE49-F238E27FC236}">
                  <a16:creationId xmlns:a16="http://schemas.microsoft.com/office/drawing/2014/main" id="{85A2CAAE-BF20-4EDE-9CE6-E215DE75C045}"/>
                </a:ext>
              </a:extLst>
            </p:cNvPr>
            <p:cNvGrpSpPr/>
            <p:nvPr/>
          </p:nvGrpSpPr>
          <p:grpSpPr>
            <a:xfrm>
              <a:off x="5130595" y="4436460"/>
              <a:ext cx="1238333" cy="666201"/>
              <a:chOff x="8145338" y="2402095"/>
              <a:chExt cx="1238333" cy="666201"/>
            </a:xfrm>
          </p:grpSpPr>
          <p:sp>
            <p:nvSpPr>
              <p:cNvPr id="108" name="Oval 107">
                <a:extLst>
                  <a:ext uri="{FF2B5EF4-FFF2-40B4-BE49-F238E27FC236}">
                    <a16:creationId xmlns:a16="http://schemas.microsoft.com/office/drawing/2014/main" id="{F10024D3-82DD-44D3-84AB-B0C93CF81A2D}"/>
                  </a:ext>
                </a:extLst>
              </p:cNvPr>
              <p:cNvSpPr/>
              <p:nvPr/>
            </p:nvSpPr>
            <p:spPr bwMode="gray">
              <a:xfrm>
                <a:off x="8396566" y="2402095"/>
                <a:ext cx="543681" cy="469888"/>
              </a:xfrm>
              <a:prstGeom prst="ellips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noProof="0" dirty="0">
                  <a:solidFill>
                    <a:schemeClr val="bg1"/>
                  </a:solidFill>
                </a:endParaRPr>
              </a:p>
            </p:txBody>
          </p:sp>
          <p:sp>
            <p:nvSpPr>
              <p:cNvPr id="109" name="Freeform 629">
                <a:extLst>
                  <a:ext uri="{FF2B5EF4-FFF2-40B4-BE49-F238E27FC236}">
                    <a16:creationId xmlns:a16="http://schemas.microsoft.com/office/drawing/2014/main" id="{72D54390-557B-4BC0-A945-C4C933B6E3E7}"/>
                  </a:ext>
                </a:extLst>
              </p:cNvPr>
              <p:cNvSpPr>
                <a:spLocks noEditPoints="1"/>
              </p:cNvSpPr>
              <p:nvPr/>
            </p:nvSpPr>
            <p:spPr bwMode="auto">
              <a:xfrm>
                <a:off x="8421894" y="2447273"/>
                <a:ext cx="441901" cy="368833"/>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solidFill>
                <a:schemeClr val="accent6">
                  <a:lumMod val="40000"/>
                  <a:lumOff val="60000"/>
                </a:schemeClr>
              </a:solid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cxnSp>
            <p:nvCxnSpPr>
              <p:cNvPr id="110" name="Straight Arrow Connector 109">
                <a:extLst>
                  <a:ext uri="{FF2B5EF4-FFF2-40B4-BE49-F238E27FC236}">
                    <a16:creationId xmlns:a16="http://schemas.microsoft.com/office/drawing/2014/main" id="{DD9881FD-DB3C-4E82-96CC-BE00AE53EBE1}"/>
                  </a:ext>
                </a:extLst>
              </p:cNvPr>
              <p:cNvCxnSpPr>
                <a:stCxn id="109" idx="6"/>
              </p:cNvCxnSpPr>
              <p:nvPr/>
            </p:nvCxnSpPr>
            <p:spPr>
              <a:xfrm flipH="1">
                <a:off x="8145338" y="2816106"/>
                <a:ext cx="614886" cy="25219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FF483850-907B-433F-8944-4939112B2525}"/>
                  </a:ext>
                </a:extLst>
              </p:cNvPr>
              <p:cNvCxnSpPr>
                <a:stCxn id="109" idx="6"/>
              </p:cNvCxnSpPr>
              <p:nvPr/>
            </p:nvCxnSpPr>
            <p:spPr>
              <a:xfrm>
                <a:off x="8760224" y="2816106"/>
                <a:ext cx="623447" cy="25219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113" name="Rectangle 112">
              <a:extLst>
                <a:ext uri="{FF2B5EF4-FFF2-40B4-BE49-F238E27FC236}">
                  <a16:creationId xmlns:a16="http://schemas.microsoft.com/office/drawing/2014/main" id="{79076082-E27C-4CD7-84D4-76FDD6537430}"/>
                </a:ext>
              </a:extLst>
            </p:cNvPr>
            <p:cNvSpPr/>
            <p:nvPr/>
          </p:nvSpPr>
          <p:spPr>
            <a:xfrm>
              <a:off x="5942981" y="5405120"/>
              <a:ext cx="1428283" cy="215444"/>
            </a:xfrm>
            <a:prstGeom prst="rect">
              <a:avLst/>
            </a:prstGeom>
            <a:noFill/>
          </p:spPr>
          <p:txBody>
            <a:bodyPr wrap="square" lIns="0" tIns="0" rIns="0" bIns="0">
              <a:spAutoFit/>
            </a:bodyPr>
            <a:lstStyle/>
            <a:p>
              <a:pPr algn="ctr"/>
              <a:r>
                <a:rPr lang="en-US" sz="1400" dirty="0">
                  <a:solidFill>
                    <a:schemeClr val="bg1"/>
                  </a:solidFill>
                  <a:ea typeface="Verdana" charset="0"/>
                  <a:cs typeface="Verdana" charset="0"/>
                </a:rPr>
                <a:t>Non-contract</a:t>
              </a:r>
            </a:p>
          </p:txBody>
        </p:sp>
      </p:grpSp>
      <p:grpSp>
        <p:nvGrpSpPr>
          <p:cNvPr id="114" name="Group 336">
            <a:extLst>
              <a:ext uri="{FF2B5EF4-FFF2-40B4-BE49-F238E27FC236}">
                <a16:creationId xmlns:a16="http://schemas.microsoft.com/office/drawing/2014/main" id="{B32C3175-A32D-4D25-9E21-0022C4398284}"/>
              </a:ext>
            </a:extLst>
          </p:cNvPr>
          <p:cNvGrpSpPr>
            <a:grpSpLocks noChangeAspect="1"/>
          </p:cNvGrpSpPr>
          <p:nvPr/>
        </p:nvGrpSpPr>
        <p:grpSpPr bwMode="auto">
          <a:xfrm>
            <a:off x="8749378" y="4418344"/>
            <a:ext cx="845155" cy="1052517"/>
            <a:chOff x="4312" y="1261"/>
            <a:chExt cx="156" cy="236"/>
          </a:xfrm>
          <a:solidFill>
            <a:schemeClr val="accent1">
              <a:lumMod val="40000"/>
              <a:lumOff val="60000"/>
            </a:schemeClr>
          </a:solidFill>
        </p:grpSpPr>
        <p:sp>
          <p:nvSpPr>
            <p:cNvPr id="115" name="Freeform 338">
              <a:extLst>
                <a:ext uri="{FF2B5EF4-FFF2-40B4-BE49-F238E27FC236}">
                  <a16:creationId xmlns:a16="http://schemas.microsoft.com/office/drawing/2014/main" id="{22A4362F-8DF4-4967-A4A5-5B0FD381A1CD}"/>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solidFill>
              <a:schemeClr val="accent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6" name="Freeform 339">
              <a:extLst>
                <a:ext uri="{FF2B5EF4-FFF2-40B4-BE49-F238E27FC236}">
                  <a16:creationId xmlns:a16="http://schemas.microsoft.com/office/drawing/2014/main" id="{49973688-0F29-488A-89C7-C10A4B406DD0}"/>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chemeClr val="tx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7" name="Freeform 340">
              <a:extLst>
                <a:ext uri="{FF2B5EF4-FFF2-40B4-BE49-F238E27FC236}">
                  <a16:creationId xmlns:a16="http://schemas.microsoft.com/office/drawing/2014/main" id="{A78958D9-A34C-4B61-94B7-D6B3501583B0}"/>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solidFill>
              <a:schemeClr val="accent1">
                <a:lumMod val="75000"/>
              </a:schemeClr>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8" name="Freeform 341">
              <a:extLst>
                <a:ext uri="{FF2B5EF4-FFF2-40B4-BE49-F238E27FC236}">
                  <a16:creationId xmlns:a16="http://schemas.microsoft.com/office/drawing/2014/main" id="{57630D3E-7749-4CF0-8A64-8E206D33C5C5}"/>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solidFill>
              <a:schemeClr val="tx1"/>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19" name="Freeform 342">
              <a:extLst>
                <a:ext uri="{FF2B5EF4-FFF2-40B4-BE49-F238E27FC236}">
                  <a16:creationId xmlns:a16="http://schemas.microsoft.com/office/drawing/2014/main" id="{9F65AE86-C0C4-4055-B4FB-7FD70D6FB46B}"/>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solidFill>
              <a:schemeClr val="accent1">
                <a:lumMod val="60000"/>
                <a:lumOff val="40000"/>
              </a:schemeClr>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cxnSp>
        <p:nvCxnSpPr>
          <p:cNvPr id="120" name="Straight Arrow Connector 119">
            <a:extLst>
              <a:ext uri="{FF2B5EF4-FFF2-40B4-BE49-F238E27FC236}">
                <a16:creationId xmlns:a16="http://schemas.microsoft.com/office/drawing/2014/main" id="{66F0AE89-69C6-49FF-9214-779CAE03ECDF}"/>
              </a:ext>
            </a:extLst>
          </p:cNvPr>
          <p:cNvCxnSpPr/>
          <p:nvPr/>
        </p:nvCxnSpPr>
        <p:spPr>
          <a:xfrm flipV="1">
            <a:off x="9610987" y="4652746"/>
            <a:ext cx="683675" cy="17479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18A4667A-4779-4CE1-AFB8-28D041150623}"/>
              </a:ext>
            </a:extLst>
          </p:cNvPr>
          <p:cNvCxnSpPr/>
          <p:nvPr/>
        </p:nvCxnSpPr>
        <p:spPr>
          <a:xfrm>
            <a:off x="9623565" y="5097701"/>
            <a:ext cx="651113" cy="27152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5B825E50-6C9A-4785-9C8B-D3FFF1A5A638}"/>
              </a:ext>
            </a:extLst>
          </p:cNvPr>
          <p:cNvSpPr/>
          <p:nvPr/>
        </p:nvSpPr>
        <p:spPr>
          <a:xfrm>
            <a:off x="10141714" y="4551108"/>
            <a:ext cx="1428283" cy="215444"/>
          </a:xfrm>
          <a:prstGeom prst="rect">
            <a:avLst/>
          </a:prstGeom>
          <a:noFill/>
        </p:spPr>
        <p:txBody>
          <a:bodyPr wrap="square" lIns="0" tIns="0" rIns="0" bIns="0">
            <a:spAutoFit/>
          </a:bodyPr>
          <a:lstStyle/>
          <a:p>
            <a:pPr algn="ctr"/>
            <a:r>
              <a:rPr lang="en-US" sz="1400" dirty="0">
                <a:solidFill>
                  <a:schemeClr val="bg1"/>
                </a:solidFill>
                <a:ea typeface="Verdana" charset="0"/>
                <a:cs typeface="Verdana" charset="0"/>
              </a:rPr>
              <a:t>Clause A</a:t>
            </a:r>
          </a:p>
        </p:txBody>
      </p:sp>
      <p:sp>
        <p:nvSpPr>
          <p:cNvPr id="123" name="Rectangle 122">
            <a:extLst>
              <a:ext uri="{FF2B5EF4-FFF2-40B4-BE49-F238E27FC236}">
                <a16:creationId xmlns:a16="http://schemas.microsoft.com/office/drawing/2014/main" id="{947DA61B-46DA-4BAD-88DD-06321D4BC53D}"/>
              </a:ext>
            </a:extLst>
          </p:cNvPr>
          <p:cNvSpPr/>
          <p:nvPr/>
        </p:nvSpPr>
        <p:spPr>
          <a:xfrm>
            <a:off x="10132322" y="5244853"/>
            <a:ext cx="1428283" cy="215444"/>
          </a:xfrm>
          <a:prstGeom prst="rect">
            <a:avLst/>
          </a:prstGeom>
          <a:noFill/>
        </p:spPr>
        <p:txBody>
          <a:bodyPr wrap="square" lIns="0" tIns="0" rIns="0" bIns="0">
            <a:spAutoFit/>
          </a:bodyPr>
          <a:lstStyle/>
          <a:p>
            <a:pPr algn="ctr"/>
            <a:r>
              <a:rPr lang="en-US" sz="1400" dirty="0">
                <a:solidFill>
                  <a:schemeClr val="bg1"/>
                </a:solidFill>
                <a:ea typeface="Verdana" charset="0"/>
                <a:cs typeface="Verdana" charset="0"/>
              </a:rPr>
              <a:t>Clause B</a:t>
            </a:r>
          </a:p>
        </p:txBody>
      </p:sp>
      <p:sp>
        <p:nvSpPr>
          <p:cNvPr id="124" name="Rectangle 123">
            <a:extLst>
              <a:ext uri="{FF2B5EF4-FFF2-40B4-BE49-F238E27FC236}">
                <a16:creationId xmlns:a16="http://schemas.microsoft.com/office/drawing/2014/main" id="{4D50F7C5-3E60-4386-A2A8-BD788C2C1A62}"/>
              </a:ext>
            </a:extLst>
          </p:cNvPr>
          <p:cNvSpPr/>
          <p:nvPr/>
        </p:nvSpPr>
        <p:spPr bwMode="gray">
          <a:xfrm>
            <a:off x="7566069" y="3941376"/>
            <a:ext cx="675503" cy="598113"/>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NZ" sz="2800" b="1" noProof="0" dirty="0">
                <a:solidFill>
                  <a:schemeClr val="bg1"/>
                </a:solidFill>
              </a:rPr>
              <a:t>4</a:t>
            </a:r>
          </a:p>
        </p:txBody>
      </p:sp>
      <p:sp>
        <p:nvSpPr>
          <p:cNvPr id="125" name="Rectangle 124">
            <a:extLst>
              <a:ext uri="{FF2B5EF4-FFF2-40B4-BE49-F238E27FC236}">
                <a16:creationId xmlns:a16="http://schemas.microsoft.com/office/drawing/2014/main" id="{A1F15EA3-3FF4-42E1-9A3A-FB0F915BED51}"/>
              </a:ext>
            </a:extLst>
          </p:cNvPr>
          <p:cNvSpPr/>
          <p:nvPr/>
        </p:nvSpPr>
        <p:spPr bwMode="gray">
          <a:xfrm>
            <a:off x="499755" y="1457525"/>
            <a:ext cx="2974803" cy="4861949"/>
          </a:xfrm>
          <a:prstGeom prst="rect">
            <a:avLst/>
          </a:prstGeom>
          <a:solidFill>
            <a:schemeClr val="tx1"/>
          </a:solidFill>
          <a:ln w="6350" algn="ctr">
            <a:solidFill>
              <a:schemeClr val="bg1">
                <a:lumMod val="85000"/>
              </a:schemeClr>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noProof="0" dirty="0">
              <a:solidFill>
                <a:schemeClr val="bg1"/>
              </a:solidFill>
            </a:endParaRPr>
          </a:p>
        </p:txBody>
      </p:sp>
      <p:sp>
        <p:nvSpPr>
          <p:cNvPr id="126" name="TextBox 125">
            <a:extLst>
              <a:ext uri="{FF2B5EF4-FFF2-40B4-BE49-F238E27FC236}">
                <a16:creationId xmlns:a16="http://schemas.microsoft.com/office/drawing/2014/main" id="{CC087A62-78AE-47F2-B425-3CD6ADE09D54}"/>
              </a:ext>
            </a:extLst>
          </p:cNvPr>
          <p:cNvSpPr txBox="1"/>
          <p:nvPr/>
        </p:nvSpPr>
        <p:spPr>
          <a:xfrm>
            <a:off x="797161" y="2848570"/>
            <a:ext cx="2210065" cy="369332"/>
          </a:xfrm>
          <a:prstGeom prst="rect">
            <a:avLst/>
          </a:prstGeom>
          <a:noFill/>
        </p:spPr>
        <p:txBody>
          <a:bodyPr wrap="square" lIns="0" tIns="0" rIns="0" bIns="0" rtlCol="0">
            <a:spAutoFit/>
          </a:bodyPr>
          <a:lstStyle/>
          <a:p>
            <a:pPr algn="ctr">
              <a:spcBef>
                <a:spcPts val="0"/>
              </a:spcBef>
              <a:spcAft>
                <a:spcPts val="1333"/>
              </a:spcAft>
              <a:buSzPct val="100000"/>
            </a:pPr>
            <a:r>
              <a:rPr lang="en-NZ" sz="1200" dirty="0">
                <a:solidFill>
                  <a:schemeClr val="bg1"/>
                </a:solidFill>
              </a:rPr>
              <a:t>Multiple contract repositories spread across the organisation </a:t>
            </a:r>
          </a:p>
        </p:txBody>
      </p:sp>
      <p:grpSp>
        <p:nvGrpSpPr>
          <p:cNvPr id="127" name="Group 126">
            <a:extLst>
              <a:ext uri="{FF2B5EF4-FFF2-40B4-BE49-F238E27FC236}">
                <a16:creationId xmlns:a16="http://schemas.microsoft.com/office/drawing/2014/main" id="{C8AD66E4-B4EC-4E97-89CF-D23332CEC556}"/>
              </a:ext>
            </a:extLst>
          </p:cNvPr>
          <p:cNvGrpSpPr/>
          <p:nvPr/>
        </p:nvGrpSpPr>
        <p:grpSpPr>
          <a:xfrm>
            <a:off x="1281228" y="1873809"/>
            <a:ext cx="1210244" cy="800542"/>
            <a:chOff x="5209964" y="1671461"/>
            <a:chExt cx="1759870" cy="1181520"/>
          </a:xfrm>
        </p:grpSpPr>
        <p:grpSp>
          <p:nvGrpSpPr>
            <p:cNvPr id="128" name="Group 127">
              <a:extLst>
                <a:ext uri="{FF2B5EF4-FFF2-40B4-BE49-F238E27FC236}">
                  <a16:creationId xmlns:a16="http://schemas.microsoft.com/office/drawing/2014/main" id="{4EB1077E-8C63-46C0-AC83-FEDF6DDBCAEB}"/>
                </a:ext>
              </a:extLst>
            </p:cNvPr>
            <p:cNvGrpSpPr/>
            <p:nvPr/>
          </p:nvGrpSpPr>
          <p:grpSpPr>
            <a:xfrm>
              <a:off x="6081480" y="1702870"/>
              <a:ext cx="888354" cy="1150111"/>
              <a:chOff x="9029223" y="1848457"/>
              <a:chExt cx="1918505" cy="2518481"/>
            </a:xfrm>
          </p:grpSpPr>
          <p:sp>
            <p:nvSpPr>
              <p:cNvPr id="135" name="Freeform 18">
                <a:extLst>
                  <a:ext uri="{FF2B5EF4-FFF2-40B4-BE49-F238E27FC236}">
                    <a16:creationId xmlns:a16="http://schemas.microsoft.com/office/drawing/2014/main" id="{A992DBAB-E5BA-43B4-8886-8C03C89DFC76}"/>
                  </a:ext>
                </a:extLst>
              </p:cNvPr>
              <p:cNvSpPr>
                <a:spLocks noEditPoints="1"/>
              </p:cNvSpPr>
              <p:nvPr/>
            </p:nvSpPr>
            <p:spPr bwMode="auto">
              <a:xfrm>
                <a:off x="9029223" y="1982030"/>
                <a:ext cx="1918505" cy="2384908"/>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bg2">
                  <a:lumMod val="50000"/>
                </a:schemeClr>
              </a:solidFill>
              <a:ln>
                <a:solidFill>
                  <a:schemeClr val="bg1">
                    <a:lumMod val="50000"/>
                  </a:schemeClr>
                </a:solid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36" name="Rectangle 135">
                <a:extLst>
                  <a:ext uri="{FF2B5EF4-FFF2-40B4-BE49-F238E27FC236}">
                    <a16:creationId xmlns:a16="http://schemas.microsoft.com/office/drawing/2014/main" id="{8AE21125-FF78-4021-B264-7F1FE07AC7E2}"/>
                  </a:ext>
                </a:extLst>
              </p:cNvPr>
              <p:cNvSpPr/>
              <p:nvPr/>
            </p:nvSpPr>
            <p:spPr bwMode="gray">
              <a:xfrm>
                <a:off x="9297956" y="1848457"/>
                <a:ext cx="328889" cy="31934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noProof="0" dirty="0">
                  <a:solidFill>
                    <a:schemeClr val="bg1"/>
                  </a:solidFill>
                </a:endParaRPr>
              </a:p>
            </p:txBody>
          </p:sp>
          <p:sp>
            <p:nvSpPr>
              <p:cNvPr id="137" name="Oval 136">
                <a:extLst>
                  <a:ext uri="{FF2B5EF4-FFF2-40B4-BE49-F238E27FC236}">
                    <a16:creationId xmlns:a16="http://schemas.microsoft.com/office/drawing/2014/main" id="{20F021D9-886F-48B5-839C-996169B9D8F9}"/>
                  </a:ext>
                </a:extLst>
              </p:cNvPr>
              <p:cNvSpPr/>
              <p:nvPr/>
            </p:nvSpPr>
            <p:spPr bwMode="gray">
              <a:xfrm>
                <a:off x="10351985" y="3099752"/>
                <a:ext cx="416288" cy="319341"/>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noProof="0" dirty="0">
                  <a:solidFill>
                    <a:schemeClr val="bg1"/>
                  </a:solidFill>
                </a:endParaRPr>
              </a:p>
            </p:txBody>
          </p:sp>
          <p:sp>
            <p:nvSpPr>
              <p:cNvPr id="138" name="Oval 137">
                <a:extLst>
                  <a:ext uri="{FF2B5EF4-FFF2-40B4-BE49-F238E27FC236}">
                    <a16:creationId xmlns:a16="http://schemas.microsoft.com/office/drawing/2014/main" id="{7C72D8DD-BAFF-4757-8B0C-173BB55013C3}"/>
                  </a:ext>
                </a:extLst>
              </p:cNvPr>
              <p:cNvSpPr/>
              <p:nvPr/>
            </p:nvSpPr>
            <p:spPr bwMode="gray">
              <a:xfrm>
                <a:off x="9626845" y="2456426"/>
                <a:ext cx="416288" cy="319341"/>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noProof="0" dirty="0">
                  <a:solidFill>
                    <a:schemeClr val="bg1"/>
                  </a:solidFill>
                </a:endParaRPr>
              </a:p>
            </p:txBody>
          </p:sp>
        </p:grpSp>
        <p:sp>
          <p:nvSpPr>
            <p:cNvPr id="134" name="Freeform 518">
              <a:extLst>
                <a:ext uri="{FF2B5EF4-FFF2-40B4-BE49-F238E27FC236}">
                  <a16:creationId xmlns:a16="http://schemas.microsoft.com/office/drawing/2014/main" id="{3137EE63-0B8F-4B87-8881-6106A4E33403}"/>
                </a:ext>
              </a:extLst>
            </p:cNvPr>
            <p:cNvSpPr>
              <a:spLocks noEditPoints="1"/>
            </p:cNvSpPr>
            <p:nvPr/>
          </p:nvSpPr>
          <p:spPr bwMode="auto">
            <a:xfrm>
              <a:off x="5209964" y="1929177"/>
              <a:ext cx="702756" cy="713269"/>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rgbClr val="86BC25"/>
            </a:solidFill>
            <a:ln>
              <a:noFill/>
            </a:ln>
          </p:spPr>
          <p:txBody>
            <a:bodyPr vert="horz" wrap="square" lIns="91441" tIns="45719" rIns="91441" bIns="45719" numCol="1" anchor="t" anchorCtr="0" compatLnSpc="1">
              <a:prstTxWarp prst="textNoShape">
                <a:avLst/>
              </a:prstTxWarp>
            </a:bodyPr>
            <a:lstStyle/>
            <a:p>
              <a:pPr>
                <a:defRPr/>
              </a:pPr>
              <a:endParaRPr lang="en-GB" sz="3200" dirty="0">
                <a:solidFill>
                  <a:schemeClr val="bg1"/>
                </a:solidFill>
                <a:latin typeface="Verdana"/>
              </a:endParaRPr>
            </a:p>
          </p:txBody>
        </p:sp>
        <p:sp>
          <p:nvSpPr>
            <p:cNvPr id="130" name="Freeform 350">
              <a:extLst>
                <a:ext uri="{FF2B5EF4-FFF2-40B4-BE49-F238E27FC236}">
                  <a16:creationId xmlns:a16="http://schemas.microsoft.com/office/drawing/2014/main" id="{E52F99F0-279B-492D-94B5-AE856A70C3DF}"/>
                </a:ext>
              </a:extLst>
            </p:cNvPr>
            <p:cNvSpPr>
              <a:spLocks noEditPoints="1"/>
            </p:cNvSpPr>
            <p:nvPr/>
          </p:nvSpPr>
          <p:spPr bwMode="auto">
            <a:xfrm>
              <a:off x="6215160" y="1671461"/>
              <a:ext cx="143046" cy="20285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0795" tIns="50399" rIns="100795" bIns="50399" numCol="1" anchor="t" anchorCtr="0" compatLnSpc="1">
              <a:prstTxWarp prst="textNoShape">
                <a:avLst/>
              </a:prstTxWarp>
            </a:bodyPr>
            <a:lstStyle/>
            <a:p>
              <a:endParaRPr lang="en-GB" sz="2262" dirty="0">
                <a:solidFill>
                  <a:schemeClr val="bg1"/>
                </a:solidFill>
              </a:endParaRPr>
            </a:p>
          </p:txBody>
        </p:sp>
        <p:sp>
          <p:nvSpPr>
            <p:cNvPr id="131" name="Freeform 350">
              <a:extLst>
                <a:ext uri="{FF2B5EF4-FFF2-40B4-BE49-F238E27FC236}">
                  <a16:creationId xmlns:a16="http://schemas.microsoft.com/office/drawing/2014/main" id="{8FDDBDE9-487D-4CB1-91B8-1F782A254079}"/>
                </a:ext>
              </a:extLst>
            </p:cNvPr>
            <p:cNvSpPr>
              <a:spLocks noEditPoints="1"/>
            </p:cNvSpPr>
            <p:nvPr/>
          </p:nvSpPr>
          <p:spPr bwMode="auto">
            <a:xfrm>
              <a:off x="6374786" y="1984383"/>
              <a:ext cx="143046" cy="196447"/>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0795" tIns="50399" rIns="100795" bIns="50399" numCol="1" anchor="t" anchorCtr="0" compatLnSpc="1">
              <a:prstTxWarp prst="textNoShape">
                <a:avLst/>
              </a:prstTxWarp>
            </a:bodyPr>
            <a:lstStyle/>
            <a:p>
              <a:endParaRPr lang="en-GB" sz="2262" dirty="0">
                <a:solidFill>
                  <a:schemeClr val="bg1"/>
                </a:solidFill>
              </a:endParaRPr>
            </a:p>
          </p:txBody>
        </p:sp>
        <p:sp>
          <p:nvSpPr>
            <p:cNvPr id="132" name="Freeform 350">
              <a:extLst>
                <a:ext uri="{FF2B5EF4-FFF2-40B4-BE49-F238E27FC236}">
                  <a16:creationId xmlns:a16="http://schemas.microsoft.com/office/drawing/2014/main" id="{6B3663C5-92A9-42EE-95F9-470D1E6DD80A}"/>
                </a:ext>
              </a:extLst>
            </p:cNvPr>
            <p:cNvSpPr>
              <a:spLocks noEditPoints="1"/>
            </p:cNvSpPr>
            <p:nvPr/>
          </p:nvSpPr>
          <p:spPr bwMode="auto">
            <a:xfrm>
              <a:off x="6679297" y="2290153"/>
              <a:ext cx="143046" cy="196447"/>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0795" tIns="50399" rIns="100795" bIns="50399" numCol="1" anchor="t" anchorCtr="0" compatLnSpc="1">
              <a:prstTxWarp prst="textNoShape">
                <a:avLst/>
              </a:prstTxWarp>
            </a:bodyPr>
            <a:lstStyle/>
            <a:p>
              <a:endParaRPr lang="en-GB" sz="2262" dirty="0">
                <a:solidFill>
                  <a:schemeClr val="bg1"/>
                </a:solidFill>
              </a:endParaRPr>
            </a:p>
          </p:txBody>
        </p:sp>
      </p:grpSp>
      <p:sp>
        <p:nvSpPr>
          <p:cNvPr id="163" name="TextBox 162">
            <a:extLst>
              <a:ext uri="{FF2B5EF4-FFF2-40B4-BE49-F238E27FC236}">
                <a16:creationId xmlns:a16="http://schemas.microsoft.com/office/drawing/2014/main" id="{341CF513-BD43-4C32-B6B4-D8599289F962}"/>
              </a:ext>
            </a:extLst>
          </p:cNvPr>
          <p:cNvSpPr txBox="1"/>
          <p:nvPr/>
        </p:nvSpPr>
        <p:spPr>
          <a:xfrm>
            <a:off x="825882" y="4349070"/>
            <a:ext cx="2266306" cy="369332"/>
          </a:xfrm>
          <a:prstGeom prst="rect">
            <a:avLst/>
          </a:prstGeom>
          <a:noFill/>
        </p:spPr>
        <p:txBody>
          <a:bodyPr wrap="square" lIns="0" tIns="0" rIns="0" bIns="0" rtlCol="0">
            <a:spAutoFit/>
          </a:bodyPr>
          <a:lstStyle/>
          <a:p>
            <a:pPr algn="ctr">
              <a:spcBef>
                <a:spcPts val="0"/>
              </a:spcBef>
              <a:spcAft>
                <a:spcPts val="1333"/>
              </a:spcAft>
              <a:buSzPct val="100000"/>
            </a:pPr>
            <a:r>
              <a:rPr lang="en-NZ" sz="1200" dirty="0">
                <a:solidFill>
                  <a:schemeClr val="bg1"/>
                </a:solidFill>
              </a:rPr>
              <a:t>Variety of formats – typically a high proportion of scanned documents</a:t>
            </a:r>
          </a:p>
        </p:txBody>
      </p:sp>
      <p:grpSp>
        <p:nvGrpSpPr>
          <p:cNvPr id="164" name="Group 163">
            <a:extLst>
              <a:ext uri="{FF2B5EF4-FFF2-40B4-BE49-F238E27FC236}">
                <a16:creationId xmlns:a16="http://schemas.microsoft.com/office/drawing/2014/main" id="{4F1E0EBC-F7D7-49FD-8AD1-EB59A88B6E6B}"/>
              </a:ext>
            </a:extLst>
          </p:cNvPr>
          <p:cNvGrpSpPr/>
          <p:nvPr/>
        </p:nvGrpSpPr>
        <p:grpSpPr>
          <a:xfrm>
            <a:off x="1233642" y="3437734"/>
            <a:ext cx="1262269" cy="758889"/>
            <a:chOff x="4470010" y="2046748"/>
            <a:chExt cx="2565873" cy="1542629"/>
          </a:xfrm>
        </p:grpSpPr>
        <p:sp>
          <p:nvSpPr>
            <p:cNvPr id="187" name="Freeform 518">
              <a:extLst>
                <a:ext uri="{FF2B5EF4-FFF2-40B4-BE49-F238E27FC236}">
                  <a16:creationId xmlns:a16="http://schemas.microsoft.com/office/drawing/2014/main" id="{4502CE5E-E749-4E9C-BDD9-158BF78D6382}"/>
                </a:ext>
              </a:extLst>
            </p:cNvPr>
            <p:cNvSpPr>
              <a:spLocks noEditPoints="1"/>
            </p:cNvSpPr>
            <p:nvPr/>
          </p:nvSpPr>
          <p:spPr bwMode="auto">
            <a:xfrm>
              <a:off x="4470010" y="2046748"/>
              <a:ext cx="900001" cy="900001"/>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rgbClr val="86BC25"/>
            </a:solidFill>
            <a:ln>
              <a:noFill/>
            </a:ln>
          </p:spPr>
          <p:txBody>
            <a:bodyPr vert="horz" wrap="square" lIns="91441" tIns="45719" rIns="91441" bIns="45719" numCol="1" anchor="t" anchorCtr="0" compatLnSpc="1">
              <a:prstTxWarp prst="textNoShape">
                <a:avLst/>
              </a:prstTxWarp>
            </a:bodyPr>
            <a:lstStyle/>
            <a:p>
              <a:pPr>
                <a:defRPr/>
              </a:pPr>
              <a:endParaRPr lang="en-GB" sz="3200" dirty="0">
                <a:solidFill>
                  <a:schemeClr val="bg1"/>
                </a:solidFill>
                <a:latin typeface="Verdana"/>
              </a:endParaRPr>
            </a:p>
          </p:txBody>
        </p:sp>
        <p:grpSp>
          <p:nvGrpSpPr>
            <p:cNvPr id="166" name="Graphic 1100">
              <a:extLst>
                <a:ext uri="{FF2B5EF4-FFF2-40B4-BE49-F238E27FC236}">
                  <a16:creationId xmlns:a16="http://schemas.microsoft.com/office/drawing/2014/main" id="{26DB44BD-B57F-4EEC-AF40-4E43C698D758}"/>
                </a:ext>
              </a:extLst>
            </p:cNvPr>
            <p:cNvGrpSpPr/>
            <p:nvPr/>
          </p:nvGrpSpPr>
          <p:grpSpPr>
            <a:xfrm>
              <a:off x="6013699" y="2643054"/>
              <a:ext cx="761858" cy="946323"/>
              <a:chOff x="4741333" y="993673"/>
              <a:chExt cx="204477" cy="218970"/>
            </a:xfrm>
            <a:solidFill>
              <a:srgbClr val="00ABAB"/>
            </a:solidFill>
          </p:grpSpPr>
          <p:sp>
            <p:nvSpPr>
              <p:cNvPr id="182" name="Graphic 1100">
                <a:extLst>
                  <a:ext uri="{FF2B5EF4-FFF2-40B4-BE49-F238E27FC236}">
                    <a16:creationId xmlns:a16="http://schemas.microsoft.com/office/drawing/2014/main" id="{A38CC71D-198B-45E5-A605-9D1A92B91A4B}"/>
                  </a:ext>
                </a:extLst>
              </p:cNvPr>
              <p:cNvSpPr/>
              <p:nvPr/>
            </p:nvSpPr>
            <p:spPr>
              <a:xfrm>
                <a:off x="4741333" y="993673"/>
                <a:ext cx="204477" cy="218970"/>
              </a:xfrm>
              <a:custGeom>
                <a:avLst/>
                <a:gdLst>
                  <a:gd name="connsiteX0" fmla="*/ 197449 w 204477"/>
                  <a:gd name="connsiteY0" fmla="*/ 81077 h 218970"/>
                  <a:gd name="connsiteX1" fmla="*/ 181474 w 204477"/>
                  <a:gd name="connsiteY1" fmla="*/ 81077 h 218970"/>
                  <a:gd name="connsiteX2" fmla="*/ 181474 w 204477"/>
                  <a:gd name="connsiteY2" fmla="*/ 58094 h 218970"/>
                  <a:gd name="connsiteX3" fmla="*/ 180835 w 204477"/>
                  <a:gd name="connsiteY3" fmla="*/ 55541 h 218970"/>
                  <a:gd name="connsiteX4" fmla="*/ 179557 w 204477"/>
                  <a:gd name="connsiteY4" fmla="*/ 53626 h 218970"/>
                  <a:gd name="connsiteX5" fmla="*/ 127799 w 204477"/>
                  <a:gd name="connsiteY5" fmla="*/ 1915 h 218970"/>
                  <a:gd name="connsiteX6" fmla="*/ 125882 w 204477"/>
                  <a:gd name="connsiteY6" fmla="*/ 638 h 218970"/>
                  <a:gd name="connsiteX7" fmla="*/ 123326 w 204477"/>
                  <a:gd name="connsiteY7" fmla="*/ 0 h 218970"/>
                  <a:gd name="connsiteX8" fmla="*/ 27477 w 204477"/>
                  <a:gd name="connsiteY8" fmla="*/ 0 h 218970"/>
                  <a:gd name="connsiteX9" fmla="*/ 21087 w 204477"/>
                  <a:gd name="connsiteY9" fmla="*/ 6384 h 218970"/>
                  <a:gd name="connsiteX10" fmla="*/ 21087 w 204477"/>
                  <a:gd name="connsiteY10" fmla="*/ 81077 h 218970"/>
                  <a:gd name="connsiteX11" fmla="*/ 6390 w 204477"/>
                  <a:gd name="connsiteY11" fmla="*/ 81077 h 218970"/>
                  <a:gd name="connsiteX12" fmla="*/ 0 w 204477"/>
                  <a:gd name="connsiteY12" fmla="*/ 87461 h 218970"/>
                  <a:gd name="connsiteX13" fmla="*/ 0 w 204477"/>
                  <a:gd name="connsiteY13" fmla="*/ 183220 h 218970"/>
                  <a:gd name="connsiteX14" fmla="*/ 6390 w 204477"/>
                  <a:gd name="connsiteY14" fmla="*/ 189604 h 218970"/>
                  <a:gd name="connsiteX15" fmla="*/ 22365 w 204477"/>
                  <a:gd name="connsiteY15" fmla="*/ 189604 h 218970"/>
                  <a:gd name="connsiteX16" fmla="*/ 22365 w 204477"/>
                  <a:gd name="connsiteY16" fmla="*/ 212587 h 218970"/>
                  <a:gd name="connsiteX17" fmla="*/ 28755 w 204477"/>
                  <a:gd name="connsiteY17" fmla="*/ 218971 h 218970"/>
                  <a:gd name="connsiteX18" fmla="*/ 175723 w 204477"/>
                  <a:gd name="connsiteY18" fmla="*/ 218971 h 218970"/>
                  <a:gd name="connsiteX19" fmla="*/ 182113 w 204477"/>
                  <a:gd name="connsiteY19" fmla="*/ 212587 h 218970"/>
                  <a:gd name="connsiteX20" fmla="*/ 182113 w 204477"/>
                  <a:gd name="connsiteY20" fmla="*/ 188966 h 218970"/>
                  <a:gd name="connsiteX21" fmla="*/ 198088 w 204477"/>
                  <a:gd name="connsiteY21" fmla="*/ 188966 h 218970"/>
                  <a:gd name="connsiteX22" fmla="*/ 204478 w 204477"/>
                  <a:gd name="connsiteY22" fmla="*/ 182582 h 218970"/>
                  <a:gd name="connsiteX23" fmla="*/ 204478 w 204477"/>
                  <a:gd name="connsiteY23" fmla="*/ 86822 h 218970"/>
                  <a:gd name="connsiteX24" fmla="*/ 197449 w 204477"/>
                  <a:gd name="connsiteY24" fmla="*/ 81077 h 218970"/>
                  <a:gd name="connsiteX25" fmla="*/ 130355 w 204477"/>
                  <a:gd name="connsiteY25" fmla="*/ 21706 h 218970"/>
                  <a:gd name="connsiteX26" fmla="*/ 160387 w 204477"/>
                  <a:gd name="connsiteY26" fmla="*/ 51072 h 218970"/>
                  <a:gd name="connsiteX27" fmla="*/ 130994 w 204477"/>
                  <a:gd name="connsiteY27" fmla="*/ 51072 h 218970"/>
                  <a:gd name="connsiteX28" fmla="*/ 130355 w 204477"/>
                  <a:gd name="connsiteY28" fmla="*/ 21706 h 218970"/>
                  <a:gd name="connsiteX29" fmla="*/ 34506 w 204477"/>
                  <a:gd name="connsiteY29" fmla="*/ 12768 h 218970"/>
                  <a:gd name="connsiteX30" fmla="*/ 117575 w 204477"/>
                  <a:gd name="connsiteY30" fmla="*/ 12768 h 218970"/>
                  <a:gd name="connsiteX31" fmla="*/ 117575 w 204477"/>
                  <a:gd name="connsiteY31" fmla="*/ 58094 h 218970"/>
                  <a:gd name="connsiteX32" fmla="*/ 123965 w 204477"/>
                  <a:gd name="connsiteY32" fmla="*/ 64478 h 218970"/>
                  <a:gd name="connsiteX33" fmla="*/ 169333 w 204477"/>
                  <a:gd name="connsiteY33" fmla="*/ 64478 h 218970"/>
                  <a:gd name="connsiteX34" fmla="*/ 169333 w 204477"/>
                  <a:gd name="connsiteY34" fmla="*/ 81077 h 218970"/>
                  <a:gd name="connsiteX35" fmla="*/ 35145 w 204477"/>
                  <a:gd name="connsiteY35" fmla="*/ 81077 h 218970"/>
                  <a:gd name="connsiteX36" fmla="*/ 34506 w 204477"/>
                  <a:gd name="connsiteY36" fmla="*/ 12768 h 218970"/>
                  <a:gd name="connsiteX37" fmla="*/ 168695 w 204477"/>
                  <a:gd name="connsiteY37" fmla="*/ 205564 h 218970"/>
                  <a:gd name="connsiteX38" fmla="*/ 34506 w 204477"/>
                  <a:gd name="connsiteY38" fmla="*/ 205564 h 218970"/>
                  <a:gd name="connsiteX39" fmla="*/ 34506 w 204477"/>
                  <a:gd name="connsiteY39" fmla="*/ 188966 h 218970"/>
                  <a:gd name="connsiteX40" fmla="*/ 168695 w 204477"/>
                  <a:gd name="connsiteY40" fmla="*/ 188966 h 218970"/>
                  <a:gd name="connsiteX41" fmla="*/ 168695 w 204477"/>
                  <a:gd name="connsiteY41" fmla="*/ 205564 h 218970"/>
                  <a:gd name="connsiteX42" fmla="*/ 190420 w 204477"/>
                  <a:gd name="connsiteY42" fmla="*/ 176198 h 218970"/>
                  <a:gd name="connsiteX43" fmla="*/ 12780 w 204477"/>
                  <a:gd name="connsiteY43" fmla="*/ 176198 h 218970"/>
                  <a:gd name="connsiteX44" fmla="*/ 12780 w 204477"/>
                  <a:gd name="connsiteY44" fmla="*/ 93206 h 218970"/>
                  <a:gd name="connsiteX45" fmla="*/ 191059 w 204477"/>
                  <a:gd name="connsiteY45" fmla="*/ 93206 h 218970"/>
                  <a:gd name="connsiteX46" fmla="*/ 190420 w 204477"/>
                  <a:gd name="connsiteY46" fmla="*/ 176198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4477" h="218970">
                    <a:moveTo>
                      <a:pt x="197449" y="81077"/>
                    </a:moveTo>
                    <a:lnTo>
                      <a:pt x="181474" y="81077"/>
                    </a:lnTo>
                    <a:lnTo>
                      <a:pt x="181474" y="58094"/>
                    </a:lnTo>
                    <a:cubicBezTo>
                      <a:pt x="181474" y="57456"/>
                      <a:pt x="181474" y="56179"/>
                      <a:pt x="180835" y="55541"/>
                    </a:cubicBezTo>
                    <a:cubicBezTo>
                      <a:pt x="180835" y="54902"/>
                      <a:pt x="180196" y="54264"/>
                      <a:pt x="179557" y="53626"/>
                    </a:cubicBezTo>
                    <a:lnTo>
                      <a:pt x="127799" y="1915"/>
                    </a:lnTo>
                    <a:cubicBezTo>
                      <a:pt x="127160" y="1277"/>
                      <a:pt x="126521" y="638"/>
                      <a:pt x="125882" y="638"/>
                    </a:cubicBezTo>
                    <a:cubicBezTo>
                      <a:pt x="125243" y="638"/>
                      <a:pt x="124604" y="0"/>
                      <a:pt x="123326" y="0"/>
                    </a:cubicBezTo>
                    <a:lnTo>
                      <a:pt x="27477" y="0"/>
                    </a:lnTo>
                    <a:cubicBezTo>
                      <a:pt x="23643" y="0"/>
                      <a:pt x="21087" y="2554"/>
                      <a:pt x="21087" y="6384"/>
                    </a:cubicBezTo>
                    <a:lnTo>
                      <a:pt x="21087" y="81077"/>
                    </a:lnTo>
                    <a:lnTo>
                      <a:pt x="6390" y="81077"/>
                    </a:lnTo>
                    <a:cubicBezTo>
                      <a:pt x="2556" y="81077"/>
                      <a:pt x="0" y="83630"/>
                      <a:pt x="0" y="87461"/>
                    </a:cubicBezTo>
                    <a:lnTo>
                      <a:pt x="0" y="183220"/>
                    </a:lnTo>
                    <a:cubicBezTo>
                      <a:pt x="0" y="187051"/>
                      <a:pt x="2556" y="189604"/>
                      <a:pt x="6390" y="189604"/>
                    </a:cubicBezTo>
                    <a:lnTo>
                      <a:pt x="22365" y="189604"/>
                    </a:lnTo>
                    <a:lnTo>
                      <a:pt x="22365" y="212587"/>
                    </a:lnTo>
                    <a:cubicBezTo>
                      <a:pt x="22365" y="216417"/>
                      <a:pt x="24921" y="218971"/>
                      <a:pt x="28755" y="218971"/>
                    </a:cubicBezTo>
                    <a:lnTo>
                      <a:pt x="175723" y="218971"/>
                    </a:lnTo>
                    <a:cubicBezTo>
                      <a:pt x="179557" y="218971"/>
                      <a:pt x="182113" y="216417"/>
                      <a:pt x="182113" y="212587"/>
                    </a:cubicBezTo>
                    <a:lnTo>
                      <a:pt x="182113" y="188966"/>
                    </a:lnTo>
                    <a:lnTo>
                      <a:pt x="198088" y="188966"/>
                    </a:lnTo>
                    <a:cubicBezTo>
                      <a:pt x="201922" y="188966"/>
                      <a:pt x="204478" y="186412"/>
                      <a:pt x="204478" y="182582"/>
                    </a:cubicBezTo>
                    <a:lnTo>
                      <a:pt x="204478" y="86822"/>
                    </a:lnTo>
                    <a:cubicBezTo>
                      <a:pt x="203839" y="83630"/>
                      <a:pt x="200644" y="81077"/>
                      <a:pt x="197449" y="81077"/>
                    </a:cubicBezTo>
                    <a:close/>
                    <a:moveTo>
                      <a:pt x="130355" y="21706"/>
                    </a:moveTo>
                    <a:lnTo>
                      <a:pt x="160387" y="51072"/>
                    </a:lnTo>
                    <a:lnTo>
                      <a:pt x="130994" y="51072"/>
                    </a:lnTo>
                    <a:lnTo>
                      <a:pt x="130355" y="21706"/>
                    </a:lnTo>
                    <a:close/>
                    <a:moveTo>
                      <a:pt x="34506" y="12768"/>
                    </a:moveTo>
                    <a:lnTo>
                      <a:pt x="117575" y="12768"/>
                    </a:lnTo>
                    <a:lnTo>
                      <a:pt x="117575" y="58094"/>
                    </a:lnTo>
                    <a:cubicBezTo>
                      <a:pt x="117575" y="61925"/>
                      <a:pt x="120131" y="64478"/>
                      <a:pt x="123965" y="64478"/>
                    </a:cubicBezTo>
                    <a:lnTo>
                      <a:pt x="169333" y="64478"/>
                    </a:lnTo>
                    <a:lnTo>
                      <a:pt x="169333" y="81077"/>
                    </a:lnTo>
                    <a:lnTo>
                      <a:pt x="35145" y="81077"/>
                    </a:lnTo>
                    <a:lnTo>
                      <a:pt x="34506" y="12768"/>
                    </a:lnTo>
                    <a:close/>
                    <a:moveTo>
                      <a:pt x="168695" y="205564"/>
                    </a:moveTo>
                    <a:lnTo>
                      <a:pt x="34506" y="205564"/>
                    </a:lnTo>
                    <a:lnTo>
                      <a:pt x="34506" y="188966"/>
                    </a:lnTo>
                    <a:lnTo>
                      <a:pt x="168695" y="188966"/>
                    </a:lnTo>
                    <a:lnTo>
                      <a:pt x="168695" y="205564"/>
                    </a:lnTo>
                    <a:close/>
                    <a:moveTo>
                      <a:pt x="190420" y="176198"/>
                    </a:moveTo>
                    <a:lnTo>
                      <a:pt x="12780" y="176198"/>
                    </a:lnTo>
                    <a:lnTo>
                      <a:pt x="12780" y="93206"/>
                    </a:lnTo>
                    <a:lnTo>
                      <a:pt x="191059" y="93206"/>
                    </a:lnTo>
                    <a:lnTo>
                      <a:pt x="190420" y="176198"/>
                    </a:lnTo>
                    <a:close/>
                  </a:path>
                </a:pathLst>
              </a:custGeom>
              <a:solidFill>
                <a:srgbClr val="00ABAB"/>
              </a:solidFill>
              <a:ln w="6390" cap="flat">
                <a:noFill/>
                <a:prstDash val="solid"/>
                <a:miter/>
              </a:ln>
            </p:spPr>
            <p:txBody>
              <a:bodyPr rtlCol="0" anchor="ctr"/>
              <a:lstStyle/>
              <a:p>
                <a:endParaRPr lang="en-US" dirty="0">
                  <a:solidFill>
                    <a:schemeClr val="bg1"/>
                  </a:solidFill>
                </a:endParaRPr>
              </a:p>
            </p:txBody>
          </p:sp>
          <p:sp>
            <p:nvSpPr>
              <p:cNvPr id="183" name="Graphic 1100">
                <a:extLst>
                  <a:ext uri="{FF2B5EF4-FFF2-40B4-BE49-F238E27FC236}">
                    <a16:creationId xmlns:a16="http://schemas.microsoft.com/office/drawing/2014/main" id="{AA54E24A-9C47-43F4-92E7-A6EB53B901C2}"/>
                  </a:ext>
                </a:extLst>
              </p:cNvPr>
              <p:cNvSpPr/>
              <p:nvPr/>
            </p:nvSpPr>
            <p:spPr>
              <a:xfrm>
                <a:off x="4823124" y="1101253"/>
                <a:ext cx="45449" cy="56569"/>
              </a:xfrm>
              <a:custGeom>
                <a:avLst/>
                <a:gdLst>
                  <a:gd name="connsiteX0" fmla="*/ 5751 w 45449"/>
                  <a:gd name="connsiteY0" fmla="*/ 310 h 56569"/>
                  <a:gd name="connsiteX1" fmla="*/ 0 w 45449"/>
                  <a:gd name="connsiteY1" fmla="*/ 6694 h 56569"/>
                  <a:gd name="connsiteX2" fmla="*/ 0 w 45449"/>
                  <a:gd name="connsiteY2" fmla="*/ 50105 h 56569"/>
                  <a:gd name="connsiteX3" fmla="*/ 5751 w 45449"/>
                  <a:gd name="connsiteY3" fmla="*/ 56489 h 56569"/>
                  <a:gd name="connsiteX4" fmla="*/ 10224 w 45449"/>
                  <a:gd name="connsiteY4" fmla="*/ 56489 h 56569"/>
                  <a:gd name="connsiteX5" fmla="*/ 37062 w 45449"/>
                  <a:gd name="connsiteY5" fmla="*/ 48190 h 56569"/>
                  <a:gd name="connsiteX6" fmla="*/ 45369 w 45449"/>
                  <a:gd name="connsiteY6" fmla="*/ 27761 h 56569"/>
                  <a:gd name="connsiteX7" fmla="*/ 37701 w 45449"/>
                  <a:gd name="connsiteY7" fmla="*/ 9247 h 56569"/>
                  <a:gd name="connsiteX8" fmla="*/ 5751 w 45449"/>
                  <a:gd name="connsiteY8" fmla="*/ 310 h 56569"/>
                  <a:gd name="connsiteX9" fmla="*/ 28755 w 45449"/>
                  <a:gd name="connsiteY9" fmla="*/ 38614 h 56569"/>
                  <a:gd name="connsiteX10" fmla="*/ 12780 w 45449"/>
                  <a:gd name="connsiteY10" fmla="*/ 43721 h 56569"/>
                  <a:gd name="connsiteX11" fmla="*/ 12780 w 45449"/>
                  <a:gd name="connsiteY11" fmla="*/ 12439 h 56569"/>
                  <a:gd name="connsiteX12" fmla="*/ 29394 w 45449"/>
                  <a:gd name="connsiteY12" fmla="*/ 18185 h 56569"/>
                  <a:gd name="connsiteX13" fmla="*/ 32589 w 45449"/>
                  <a:gd name="connsiteY13" fmla="*/ 27122 h 56569"/>
                  <a:gd name="connsiteX14" fmla="*/ 28755 w 45449"/>
                  <a:gd name="connsiteY14" fmla="*/ 38614 h 56569"/>
                  <a:gd name="connsiteX15" fmla="*/ 28755 w 45449"/>
                  <a:gd name="connsiteY15" fmla="*/ 38614 h 56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449" h="56569">
                    <a:moveTo>
                      <a:pt x="5751" y="310"/>
                    </a:moveTo>
                    <a:cubicBezTo>
                      <a:pt x="2556" y="310"/>
                      <a:pt x="0" y="3502"/>
                      <a:pt x="0" y="6694"/>
                    </a:cubicBezTo>
                    <a:lnTo>
                      <a:pt x="0" y="50105"/>
                    </a:lnTo>
                    <a:cubicBezTo>
                      <a:pt x="0" y="53297"/>
                      <a:pt x="2556" y="55850"/>
                      <a:pt x="5751" y="56489"/>
                    </a:cubicBezTo>
                    <a:cubicBezTo>
                      <a:pt x="7029" y="56489"/>
                      <a:pt x="8946" y="56489"/>
                      <a:pt x="10224" y="56489"/>
                    </a:cubicBezTo>
                    <a:cubicBezTo>
                      <a:pt x="19809" y="57127"/>
                      <a:pt x="29394" y="53935"/>
                      <a:pt x="37062" y="48190"/>
                    </a:cubicBezTo>
                    <a:cubicBezTo>
                      <a:pt x="42813" y="43082"/>
                      <a:pt x="46008" y="35422"/>
                      <a:pt x="45369" y="27761"/>
                    </a:cubicBezTo>
                    <a:cubicBezTo>
                      <a:pt x="45369" y="20738"/>
                      <a:pt x="42813" y="14354"/>
                      <a:pt x="37701" y="9247"/>
                    </a:cubicBezTo>
                    <a:cubicBezTo>
                      <a:pt x="26838" y="-967"/>
                      <a:pt x="7668" y="-329"/>
                      <a:pt x="5751" y="310"/>
                    </a:cubicBezTo>
                    <a:close/>
                    <a:moveTo>
                      <a:pt x="28755" y="38614"/>
                    </a:moveTo>
                    <a:cubicBezTo>
                      <a:pt x="24282" y="41806"/>
                      <a:pt x="18531" y="43721"/>
                      <a:pt x="12780" y="43721"/>
                    </a:cubicBezTo>
                    <a:lnTo>
                      <a:pt x="12780" y="12439"/>
                    </a:lnTo>
                    <a:cubicBezTo>
                      <a:pt x="18531" y="12439"/>
                      <a:pt x="24282" y="14354"/>
                      <a:pt x="29394" y="18185"/>
                    </a:cubicBezTo>
                    <a:cubicBezTo>
                      <a:pt x="31950" y="20738"/>
                      <a:pt x="33228" y="23930"/>
                      <a:pt x="32589" y="27122"/>
                    </a:cubicBezTo>
                    <a:cubicBezTo>
                      <a:pt x="33228" y="31591"/>
                      <a:pt x="31311" y="35422"/>
                      <a:pt x="28755" y="38614"/>
                    </a:cubicBezTo>
                    <a:lnTo>
                      <a:pt x="28755" y="38614"/>
                    </a:lnTo>
                    <a:close/>
                  </a:path>
                </a:pathLst>
              </a:custGeom>
              <a:solidFill>
                <a:srgbClr val="00ABAB"/>
              </a:solidFill>
              <a:ln w="6390" cap="flat">
                <a:noFill/>
                <a:prstDash val="solid"/>
                <a:miter/>
              </a:ln>
            </p:spPr>
            <p:txBody>
              <a:bodyPr rtlCol="0" anchor="ctr"/>
              <a:lstStyle/>
              <a:p>
                <a:endParaRPr lang="en-US" dirty="0">
                  <a:solidFill>
                    <a:schemeClr val="bg1"/>
                  </a:solidFill>
                </a:endParaRPr>
              </a:p>
            </p:txBody>
          </p:sp>
          <p:sp>
            <p:nvSpPr>
              <p:cNvPr id="184" name="Graphic 1100">
                <a:extLst>
                  <a:ext uri="{FF2B5EF4-FFF2-40B4-BE49-F238E27FC236}">
                    <a16:creationId xmlns:a16="http://schemas.microsoft.com/office/drawing/2014/main" id="{CCE37A2D-5E30-4326-8309-EFD847F06497}"/>
                  </a:ext>
                </a:extLst>
              </p:cNvPr>
              <p:cNvSpPr/>
              <p:nvPr/>
            </p:nvSpPr>
            <p:spPr>
              <a:xfrm>
                <a:off x="4885745" y="1102201"/>
                <a:ext cx="33227" cy="57455"/>
              </a:xfrm>
              <a:custGeom>
                <a:avLst/>
                <a:gdLst>
                  <a:gd name="connsiteX0" fmla="*/ 6390 w 33227"/>
                  <a:gd name="connsiteY0" fmla="*/ 0 h 57455"/>
                  <a:gd name="connsiteX1" fmla="*/ 0 w 33227"/>
                  <a:gd name="connsiteY1" fmla="*/ 6384 h 57455"/>
                  <a:gd name="connsiteX2" fmla="*/ 0 w 33227"/>
                  <a:gd name="connsiteY2" fmla="*/ 51072 h 57455"/>
                  <a:gd name="connsiteX3" fmla="*/ 6390 w 33227"/>
                  <a:gd name="connsiteY3" fmla="*/ 57456 h 57455"/>
                  <a:gd name="connsiteX4" fmla="*/ 12780 w 33227"/>
                  <a:gd name="connsiteY4" fmla="*/ 51072 h 57455"/>
                  <a:gd name="connsiteX5" fmla="*/ 12780 w 33227"/>
                  <a:gd name="connsiteY5" fmla="*/ 35750 h 57455"/>
                  <a:gd name="connsiteX6" fmla="*/ 26838 w 33227"/>
                  <a:gd name="connsiteY6" fmla="*/ 35750 h 57455"/>
                  <a:gd name="connsiteX7" fmla="*/ 33228 w 33227"/>
                  <a:gd name="connsiteY7" fmla="*/ 29366 h 57455"/>
                  <a:gd name="connsiteX8" fmla="*/ 26838 w 33227"/>
                  <a:gd name="connsiteY8" fmla="*/ 22982 h 57455"/>
                  <a:gd name="connsiteX9" fmla="*/ 12780 w 33227"/>
                  <a:gd name="connsiteY9" fmla="*/ 22982 h 57455"/>
                  <a:gd name="connsiteX10" fmla="*/ 12780 w 33227"/>
                  <a:gd name="connsiteY10" fmla="*/ 12768 h 57455"/>
                  <a:gd name="connsiteX11" fmla="*/ 26838 w 33227"/>
                  <a:gd name="connsiteY11" fmla="*/ 12768 h 57455"/>
                  <a:gd name="connsiteX12" fmla="*/ 33228 w 33227"/>
                  <a:gd name="connsiteY12" fmla="*/ 6384 h 57455"/>
                  <a:gd name="connsiteX13" fmla="*/ 26838 w 33227"/>
                  <a:gd name="connsiteY13" fmla="*/ 0 h 57455"/>
                  <a:gd name="connsiteX14" fmla="*/ 6390 w 33227"/>
                  <a:gd name="connsiteY14" fmla="*/ 0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27" h="57455">
                    <a:moveTo>
                      <a:pt x="6390" y="0"/>
                    </a:moveTo>
                    <a:cubicBezTo>
                      <a:pt x="2556" y="0"/>
                      <a:pt x="0" y="2554"/>
                      <a:pt x="0" y="6384"/>
                    </a:cubicBezTo>
                    <a:lnTo>
                      <a:pt x="0" y="51072"/>
                    </a:lnTo>
                    <a:cubicBezTo>
                      <a:pt x="0" y="54902"/>
                      <a:pt x="2556" y="57456"/>
                      <a:pt x="6390" y="57456"/>
                    </a:cubicBezTo>
                    <a:cubicBezTo>
                      <a:pt x="10224" y="57456"/>
                      <a:pt x="12780" y="54902"/>
                      <a:pt x="12780" y="51072"/>
                    </a:cubicBezTo>
                    <a:lnTo>
                      <a:pt x="12780" y="35750"/>
                    </a:lnTo>
                    <a:lnTo>
                      <a:pt x="26838" y="35750"/>
                    </a:lnTo>
                    <a:cubicBezTo>
                      <a:pt x="30672" y="35750"/>
                      <a:pt x="33228" y="33197"/>
                      <a:pt x="33228" y="29366"/>
                    </a:cubicBezTo>
                    <a:cubicBezTo>
                      <a:pt x="33228" y="25536"/>
                      <a:pt x="30672" y="22982"/>
                      <a:pt x="26838" y="22982"/>
                    </a:cubicBezTo>
                    <a:lnTo>
                      <a:pt x="12780" y="22982"/>
                    </a:lnTo>
                    <a:lnTo>
                      <a:pt x="12780" y="12768"/>
                    </a:lnTo>
                    <a:lnTo>
                      <a:pt x="26838" y="12768"/>
                    </a:lnTo>
                    <a:cubicBezTo>
                      <a:pt x="30672" y="12768"/>
                      <a:pt x="33228" y="10214"/>
                      <a:pt x="33228" y="6384"/>
                    </a:cubicBezTo>
                    <a:cubicBezTo>
                      <a:pt x="33228" y="2554"/>
                      <a:pt x="30672" y="0"/>
                      <a:pt x="26838" y="0"/>
                    </a:cubicBezTo>
                    <a:lnTo>
                      <a:pt x="6390" y="0"/>
                    </a:lnTo>
                    <a:close/>
                  </a:path>
                </a:pathLst>
              </a:custGeom>
              <a:solidFill>
                <a:srgbClr val="00ABAB"/>
              </a:solidFill>
              <a:ln w="6390" cap="flat">
                <a:noFill/>
                <a:prstDash val="solid"/>
                <a:miter/>
              </a:ln>
            </p:spPr>
            <p:txBody>
              <a:bodyPr rtlCol="0" anchor="ctr"/>
              <a:lstStyle/>
              <a:p>
                <a:endParaRPr lang="en-US" dirty="0">
                  <a:solidFill>
                    <a:schemeClr val="bg1"/>
                  </a:solidFill>
                </a:endParaRPr>
              </a:p>
            </p:txBody>
          </p:sp>
          <p:sp>
            <p:nvSpPr>
              <p:cNvPr id="185" name="Graphic 1100">
                <a:extLst>
                  <a:ext uri="{FF2B5EF4-FFF2-40B4-BE49-F238E27FC236}">
                    <a16:creationId xmlns:a16="http://schemas.microsoft.com/office/drawing/2014/main" id="{D8E97219-C990-48C1-8F99-C3A62E4CC759}"/>
                  </a:ext>
                </a:extLst>
              </p:cNvPr>
              <p:cNvSpPr/>
              <p:nvPr/>
            </p:nvSpPr>
            <p:spPr>
              <a:xfrm>
                <a:off x="4769449" y="1100924"/>
                <a:ext cx="39099" cy="56817"/>
              </a:xfrm>
              <a:custGeom>
                <a:avLst/>
                <a:gdLst>
                  <a:gd name="connsiteX0" fmla="*/ 21087 w 39099"/>
                  <a:gd name="connsiteY0" fmla="*/ 0 h 56817"/>
                  <a:gd name="connsiteX1" fmla="*/ 6390 w 39099"/>
                  <a:gd name="connsiteY1" fmla="*/ 0 h 56817"/>
                  <a:gd name="connsiteX2" fmla="*/ 0 w 39099"/>
                  <a:gd name="connsiteY2" fmla="*/ 6384 h 56817"/>
                  <a:gd name="connsiteX3" fmla="*/ 0 w 39099"/>
                  <a:gd name="connsiteY3" fmla="*/ 50434 h 56817"/>
                  <a:gd name="connsiteX4" fmla="*/ 6390 w 39099"/>
                  <a:gd name="connsiteY4" fmla="*/ 56818 h 56817"/>
                  <a:gd name="connsiteX5" fmla="*/ 12780 w 39099"/>
                  <a:gd name="connsiteY5" fmla="*/ 50434 h 56817"/>
                  <a:gd name="connsiteX6" fmla="*/ 12780 w 39099"/>
                  <a:gd name="connsiteY6" fmla="*/ 38304 h 56817"/>
                  <a:gd name="connsiteX7" fmla="*/ 21087 w 39099"/>
                  <a:gd name="connsiteY7" fmla="*/ 38304 h 56817"/>
                  <a:gd name="connsiteX8" fmla="*/ 33867 w 39099"/>
                  <a:gd name="connsiteY8" fmla="*/ 33197 h 56817"/>
                  <a:gd name="connsiteX9" fmla="*/ 38978 w 39099"/>
                  <a:gd name="connsiteY9" fmla="*/ 19152 h 56817"/>
                  <a:gd name="connsiteX10" fmla="*/ 22365 w 39099"/>
                  <a:gd name="connsiteY10" fmla="*/ 0 h 56817"/>
                  <a:gd name="connsiteX11" fmla="*/ 21087 w 39099"/>
                  <a:gd name="connsiteY11" fmla="*/ 0 h 56817"/>
                  <a:gd name="connsiteX12" fmla="*/ 21087 w 39099"/>
                  <a:gd name="connsiteY12" fmla="*/ 0 h 56817"/>
                  <a:gd name="connsiteX13" fmla="*/ 21087 w 39099"/>
                  <a:gd name="connsiteY13" fmla="*/ 25536 h 56817"/>
                  <a:gd name="connsiteX14" fmla="*/ 12780 w 39099"/>
                  <a:gd name="connsiteY14" fmla="*/ 25536 h 56817"/>
                  <a:gd name="connsiteX15" fmla="*/ 12780 w 39099"/>
                  <a:gd name="connsiteY15" fmla="*/ 12768 h 56817"/>
                  <a:gd name="connsiteX16" fmla="*/ 21087 w 39099"/>
                  <a:gd name="connsiteY16" fmla="*/ 12768 h 56817"/>
                  <a:gd name="connsiteX17" fmla="*/ 24921 w 39099"/>
                  <a:gd name="connsiteY17" fmla="*/ 14045 h 56817"/>
                  <a:gd name="connsiteX18" fmla="*/ 26199 w 39099"/>
                  <a:gd name="connsiteY18" fmla="*/ 19152 h 56817"/>
                  <a:gd name="connsiteX19" fmla="*/ 21087 w 39099"/>
                  <a:gd name="connsiteY19" fmla="*/ 25536 h 56817"/>
                  <a:gd name="connsiteX20" fmla="*/ 21087 w 39099"/>
                  <a:gd name="connsiteY20" fmla="*/ 25536 h 5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099" h="56817">
                    <a:moveTo>
                      <a:pt x="21087" y="0"/>
                    </a:moveTo>
                    <a:lnTo>
                      <a:pt x="6390" y="0"/>
                    </a:lnTo>
                    <a:cubicBezTo>
                      <a:pt x="2556" y="0"/>
                      <a:pt x="0" y="2554"/>
                      <a:pt x="0" y="6384"/>
                    </a:cubicBezTo>
                    <a:lnTo>
                      <a:pt x="0" y="50434"/>
                    </a:lnTo>
                    <a:cubicBezTo>
                      <a:pt x="0" y="54264"/>
                      <a:pt x="2556" y="56818"/>
                      <a:pt x="6390" y="56818"/>
                    </a:cubicBezTo>
                    <a:cubicBezTo>
                      <a:pt x="10224" y="56818"/>
                      <a:pt x="12780" y="54264"/>
                      <a:pt x="12780" y="50434"/>
                    </a:cubicBezTo>
                    <a:lnTo>
                      <a:pt x="12780" y="38304"/>
                    </a:lnTo>
                    <a:lnTo>
                      <a:pt x="21087" y="38304"/>
                    </a:lnTo>
                    <a:cubicBezTo>
                      <a:pt x="25560" y="38304"/>
                      <a:pt x="30672" y="36389"/>
                      <a:pt x="33867" y="33197"/>
                    </a:cubicBezTo>
                    <a:cubicBezTo>
                      <a:pt x="37700" y="29366"/>
                      <a:pt x="39617" y="24259"/>
                      <a:pt x="38978" y="19152"/>
                    </a:cubicBezTo>
                    <a:cubicBezTo>
                      <a:pt x="39617" y="9576"/>
                      <a:pt x="32589" y="638"/>
                      <a:pt x="22365" y="0"/>
                    </a:cubicBezTo>
                    <a:cubicBezTo>
                      <a:pt x="21726" y="0"/>
                      <a:pt x="21087" y="0"/>
                      <a:pt x="21087" y="0"/>
                    </a:cubicBezTo>
                    <a:lnTo>
                      <a:pt x="21087" y="0"/>
                    </a:lnTo>
                    <a:close/>
                    <a:moveTo>
                      <a:pt x="21087" y="25536"/>
                    </a:moveTo>
                    <a:lnTo>
                      <a:pt x="12780" y="25536"/>
                    </a:lnTo>
                    <a:lnTo>
                      <a:pt x="12780" y="12768"/>
                    </a:lnTo>
                    <a:lnTo>
                      <a:pt x="21087" y="12768"/>
                    </a:lnTo>
                    <a:cubicBezTo>
                      <a:pt x="22365" y="12768"/>
                      <a:pt x="23642" y="13406"/>
                      <a:pt x="24921" y="14045"/>
                    </a:cubicBezTo>
                    <a:cubicBezTo>
                      <a:pt x="26199" y="15322"/>
                      <a:pt x="26837" y="17237"/>
                      <a:pt x="26199" y="19152"/>
                    </a:cubicBezTo>
                    <a:cubicBezTo>
                      <a:pt x="26199" y="23621"/>
                      <a:pt x="24921" y="26174"/>
                      <a:pt x="21087" y="25536"/>
                    </a:cubicBezTo>
                    <a:lnTo>
                      <a:pt x="21087" y="25536"/>
                    </a:lnTo>
                    <a:close/>
                  </a:path>
                </a:pathLst>
              </a:custGeom>
              <a:solidFill>
                <a:srgbClr val="00ABAB"/>
              </a:solidFill>
              <a:ln w="6390" cap="flat">
                <a:noFill/>
                <a:prstDash val="solid"/>
                <a:miter/>
              </a:ln>
            </p:spPr>
            <p:txBody>
              <a:bodyPr rtlCol="0" anchor="ctr"/>
              <a:lstStyle/>
              <a:p>
                <a:endParaRPr lang="en-US" dirty="0">
                  <a:solidFill>
                    <a:schemeClr val="bg1"/>
                  </a:solidFill>
                </a:endParaRPr>
              </a:p>
            </p:txBody>
          </p:sp>
        </p:grpSp>
        <p:grpSp>
          <p:nvGrpSpPr>
            <p:cNvPr id="167" name="Graphic 1100">
              <a:extLst>
                <a:ext uri="{FF2B5EF4-FFF2-40B4-BE49-F238E27FC236}">
                  <a16:creationId xmlns:a16="http://schemas.microsoft.com/office/drawing/2014/main" id="{8141A563-A97B-46E9-A7FD-3E4A8A4853EB}"/>
                </a:ext>
              </a:extLst>
            </p:cNvPr>
            <p:cNvGrpSpPr/>
            <p:nvPr/>
          </p:nvGrpSpPr>
          <p:grpSpPr>
            <a:xfrm>
              <a:off x="6573590" y="2219758"/>
              <a:ext cx="462293" cy="608266"/>
              <a:chOff x="4741333" y="1968508"/>
              <a:chExt cx="204477" cy="218970"/>
            </a:xfrm>
            <a:solidFill>
              <a:schemeClr val="bg2">
                <a:lumMod val="50000"/>
              </a:schemeClr>
            </a:solidFill>
          </p:grpSpPr>
          <p:sp>
            <p:nvSpPr>
              <p:cNvPr id="178" name="Graphic 1100">
                <a:extLst>
                  <a:ext uri="{FF2B5EF4-FFF2-40B4-BE49-F238E27FC236}">
                    <a16:creationId xmlns:a16="http://schemas.microsoft.com/office/drawing/2014/main" id="{BEB9136A-D4A1-47C3-87B5-E46A0CDCF953}"/>
                  </a:ext>
                </a:extLst>
              </p:cNvPr>
              <p:cNvSpPr/>
              <p:nvPr/>
            </p:nvSpPr>
            <p:spPr>
              <a:xfrm>
                <a:off x="4741333" y="1968508"/>
                <a:ext cx="204477" cy="218970"/>
              </a:xfrm>
              <a:custGeom>
                <a:avLst/>
                <a:gdLst>
                  <a:gd name="connsiteX0" fmla="*/ 197449 w 204477"/>
                  <a:gd name="connsiteY0" fmla="*/ 81076 h 218970"/>
                  <a:gd name="connsiteX1" fmla="*/ 181474 w 204477"/>
                  <a:gd name="connsiteY1" fmla="*/ 81076 h 218970"/>
                  <a:gd name="connsiteX2" fmla="*/ 181474 w 204477"/>
                  <a:gd name="connsiteY2" fmla="*/ 58094 h 218970"/>
                  <a:gd name="connsiteX3" fmla="*/ 179557 w 204477"/>
                  <a:gd name="connsiteY3" fmla="*/ 53625 h 218970"/>
                  <a:gd name="connsiteX4" fmla="*/ 128438 w 204477"/>
                  <a:gd name="connsiteY4" fmla="*/ 1915 h 218970"/>
                  <a:gd name="connsiteX5" fmla="*/ 126521 w 204477"/>
                  <a:gd name="connsiteY5" fmla="*/ 638 h 218970"/>
                  <a:gd name="connsiteX6" fmla="*/ 123965 w 204477"/>
                  <a:gd name="connsiteY6" fmla="*/ 0 h 218970"/>
                  <a:gd name="connsiteX7" fmla="*/ 28116 w 204477"/>
                  <a:gd name="connsiteY7" fmla="*/ 0 h 218970"/>
                  <a:gd name="connsiteX8" fmla="*/ 21726 w 204477"/>
                  <a:gd name="connsiteY8" fmla="*/ 6384 h 218970"/>
                  <a:gd name="connsiteX9" fmla="*/ 21726 w 204477"/>
                  <a:gd name="connsiteY9" fmla="*/ 81076 h 218970"/>
                  <a:gd name="connsiteX10" fmla="*/ 6390 w 204477"/>
                  <a:gd name="connsiteY10" fmla="*/ 81076 h 218970"/>
                  <a:gd name="connsiteX11" fmla="*/ 0 w 204477"/>
                  <a:gd name="connsiteY11" fmla="*/ 87460 h 218970"/>
                  <a:gd name="connsiteX12" fmla="*/ 0 w 204477"/>
                  <a:gd name="connsiteY12" fmla="*/ 183220 h 218970"/>
                  <a:gd name="connsiteX13" fmla="*/ 6390 w 204477"/>
                  <a:gd name="connsiteY13" fmla="*/ 189604 h 218970"/>
                  <a:gd name="connsiteX14" fmla="*/ 22365 w 204477"/>
                  <a:gd name="connsiteY14" fmla="*/ 189604 h 218970"/>
                  <a:gd name="connsiteX15" fmla="*/ 22365 w 204477"/>
                  <a:gd name="connsiteY15" fmla="*/ 212587 h 218970"/>
                  <a:gd name="connsiteX16" fmla="*/ 28755 w 204477"/>
                  <a:gd name="connsiteY16" fmla="*/ 218971 h 218970"/>
                  <a:gd name="connsiteX17" fmla="*/ 175723 w 204477"/>
                  <a:gd name="connsiteY17" fmla="*/ 218971 h 218970"/>
                  <a:gd name="connsiteX18" fmla="*/ 182113 w 204477"/>
                  <a:gd name="connsiteY18" fmla="*/ 212587 h 218970"/>
                  <a:gd name="connsiteX19" fmla="*/ 182113 w 204477"/>
                  <a:gd name="connsiteY19" fmla="*/ 189604 h 218970"/>
                  <a:gd name="connsiteX20" fmla="*/ 198088 w 204477"/>
                  <a:gd name="connsiteY20" fmla="*/ 189604 h 218970"/>
                  <a:gd name="connsiteX21" fmla="*/ 204478 w 204477"/>
                  <a:gd name="connsiteY21" fmla="*/ 183220 h 218970"/>
                  <a:gd name="connsiteX22" fmla="*/ 204478 w 204477"/>
                  <a:gd name="connsiteY22" fmla="*/ 87460 h 218970"/>
                  <a:gd name="connsiteX23" fmla="*/ 197449 w 204477"/>
                  <a:gd name="connsiteY23" fmla="*/ 81076 h 218970"/>
                  <a:gd name="connsiteX24" fmla="*/ 197449 w 204477"/>
                  <a:gd name="connsiteY24" fmla="*/ 81076 h 218970"/>
                  <a:gd name="connsiteX25" fmla="*/ 130355 w 204477"/>
                  <a:gd name="connsiteY25" fmla="*/ 21706 h 218970"/>
                  <a:gd name="connsiteX26" fmla="*/ 159748 w 204477"/>
                  <a:gd name="connsiteY26" fmla="*/ 51072 h 218970"/>
                  <a:gd name="connsiteX27" fmla="*/ 130355 w 204477"/>
                  <a:gd name="connsiteY27" fmla="*/ 51072 h 218970"/>
                  <a:gd name="connsiteX28" fmla="*/ 130355 w 204477"/>
                  <a:gd name="connsiteY28" fmla="*/ 21706 h 218970"/>
                  <a:gd name="connsiteX29" fmla="*/ 34506 w 204477"/>
                  <a:gd name="connsiteY29" fmla="*/ 12768 h 218970"/>
                  <a:gd name="connsiteX30" fmla="*/ 117575 w 204477"/>
                  <a:gd name="connsiteY30" fmla="*/ 12768 h 218970"/>
                  <a:gd name="connsiteX31" fmla="*/ 117575 w 204477"/>
                  <a:gd name="connsiteY31" fmla="*/ 58094 h 218970"/>
                  <a:gd name="connsiteX32" fmla="*/ 123965 w 204477"/>
                  <a:gd name="connsiteY32" fmla="*/ 64478 h 218970"/>
                  <a:gd name="connsiteX33" fmla="*/ 169333 w 204477"/>
                  <a:gd name="connsiteY33" fmla="*/ 64478 h 218970"/>
                  <a:gd name="connsiteX34" fmla="*/ 169333 w 204477"/>
                  <a:gd name="connsiteY34" fmla="*/ 81076 h 218970"/>
                  <a:gd name="connsiteX35" fmla="*/ 35145 w 204477"/>
                  <a:gd name="connsiteY35" fmla="*/ 81076 h 218970"/>
                  <a:gd name="connsiteX36" fmla="*/ 34506 w 204477"/>
                  <a:gd name="connsiteY36" fmla="*/ 12768 h 218970"/>
                  <a:gd name="connsiteX37" fmla="*/ 168695 w 204477"/>
                  <a:gd name="connsiteY37" fmla="*/ 206203 h 218970"/>
                  <a:gd name="connsiteX38" fmla="*/ 34506 w 204477"/>
                  <a:gd name="connsiteY38" fmla="*/ 206203 h 218970"/>
                  <a:gd name="connsiteX39" fmla="*/ 34506 w 204477"/>
                  <a:gd name="connsiteY39" fmla="*/ 189604 h 218970"/>
                  <a:gd name="connsiteX40" fmla="*/ 168695 w 204477"/>
                  <a:gd name="connsiteY40" fmla="*/ 189604 h 218970"/>
                  <a:gd name="connsiteX41" fmla="*/ 168695 w 204477"/>
                  <a:gd name="connsiteY41" fmla="*/ 206203 h 218970"/>
                  <a:gd name="connsiteX42" fmla="*/ 190420 w 204477"/>
                  <a:gd name="connsiteY42" fmla="*/ 176836 h 218970"/>
                  <a:gd name="connsiteX43" fmla="*/ 12780 w 204477"/>
                  <a:gd name="connsiteY43" fmla="*/ 176836 h 218970"/>
                  <a:gd name="connsiteX44" fmla="*/ 12780 w 204477"/>
                  <a:gd name="connsiteY44" fmla="*/ 93844 h 218970"/>
                  <a:gd name="connsiteX45" fmla="*/ 191059 w 204477"/>
                  <a:gd name="connsiteY45" fmla="*/ 93844 h 218970"/>
                  <a:gd name="connsiteX46" fmla="*/ 190420 w 204477"/>
                  <a:gd name="connsiteY46" fmla="*/ 176836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04477" h="218970">
                    <a:moveTo>
                      <a:pt x="197449" y="81076"/>
                    </a:moveTo>
                    <a:lnTo>
                      <a:pt x="181474" y="81076"/>
                    </a:lnTo>
                    <a:lnTo>
                      <a:pt x="181474" y="58094"/>
                    </a:lnTo>
                    <a:cubicBezTo>
                      <a:pt x="181474" y="56179"/>
                      <a:pt x="180835" y="54902"/>
                      <a:pt x="179557" y="53625"/>
                    </a:cubicBezTo>
                    <a:lnTo>
                      <a:pt x="128438" y="1915"/>
                    </a:lnTo>
                    <a:cubicBezTo>
                      <a:pt x="127799" y="1277"/>
                      <a:pt x="127160" y="638"/>
                      <a:pt x="126521" y="638"/>
                    </a:cubicBezTo>
                    <a:cubicBezTo>
                      <a:pt x="125882" y="0"/>
                      <a:pt x="125243" y="0"/>
                      <a:pt x="123965" y="0"/>
                    </a:cubicBezTo>
                    <a:lnTo>
                      <a:pt x="28116" y="0"/>
                    </a:lnTo>
                    <a:cubicBezTo>
                      <a:pt x="24282" y="0"/>
                      <a:pt x="21726" y="2554"/>
                      <a:pt x="21726" y="6384"/>
                    </a:cubicBezTo>
                    <a:lnTo>
                      <a:pt x="21726" y="81076"/>
                    </a:lnTo>
                    <a:lnTo>
                      <a:pt x="6390" y="81076"/>
                    </a:lnTo>
                    <a:cubicBezTo>
                      <a:pt x="2556" y="81076"/>
                      <a:pt x="0" y="83630"/>
                      <a:pt x="0" y="87460"/>
                    </a:cubicBezTo>
                    <a:lnTo>
                      <a:pt x="0" y="183220"/>
                    </a:lnTo>
                    <a:cubicBezTo>
                      <a:pt x="0" y="187051"/>
                      <a:pt x="2556" y="189604"/>
                      <a:pt x="6390" y="189604"/>
                    </a:cubicBezTo>
                    <a:lnTo>
                      <a:pt x="22365" y="189604"/>
                    </a:lnTo>
                    <a:lnTo>
                      <a:pt x="22365" y="212587"/>
                    </a:lnTo>
                    <a:cubicBezTo>
                      <a:pt x="22365" y="216417"/>
                      <a:pt x="24921" y="218971"/>
                      <a:pt x="28755" y="218971"/>
                    </a:cubicBezTo>
                    <a:lnTo>
                      <a:pt x="175723" y="218971"/>
                    </a:lnTo>
                    <a:cubicBezTo>
                      <a:pt x="179557" y="218971"/>
                      <a:pt x="182113" y="216417"/>
                      <a:pt x="182113" y="212587"/>
                    </a:cubicBezTo>
                    <a:lnTo>
                      <a:pt x="182113" y="189604"/>
                    </a:lnTo>
                    <a:lnTo>
                      <a:pt x="198088" y="189604"/>
                    </a:lnTo>
                    <a:cubicBezTo>
                      <a:pt x="201922" y="189604"/>
                      <a:pt x="204478" y="187051"/>
                      <a:pt x="204478" y="183220"/>
                    </a:cubicBezTo>
                    <a:lnTo>
                      <a:pt x="204478" y="87460"/>
                    </a:lnTo>
                    <a:cubicBezTo>
                      <a:pt x="203839" y="83630"/>
                      <a:pt x="201283" y="81076"/>
                      <a:pt x="197449" y="81076"/>
                    </a:cubicBezTo>
                    <a:cubicBezTo>
                      <a:pt x="197449" y="81076"/>
                      <a:pt x="197449" y="81076"/>
                      <a:pt x="197449" y="81076"/>
                    </a:cubicBezTo>
                    <a:close/>
                    <a:moveTo>
                      <a:pt x="130355" y="21706"/>
                    </a:moveTo>
                    <a:lnTo>
                      <a:pt x="159748" y="51072"/>
                    </a:lnTo>
                    <a:lnTo>
                      <a:pt x="130355" y="51072"/>
                    </a:lnTo>
                    <a:lnTo>
                      <a:pt x="130355" y="21706"/>
                    </a:lnTo>
                    <a:close/>
                    <a:moveTo>
                      <a:pt x="34506" y="12768"/>
                    </a:moveTo>
                    <a:lnTo>
                      <a:pt x="117575" y="12768"/>
                    </a:lnTo>
                    <a:lnTo>
                      <a:pt x="117575" y="58094"/>
                    </a:lnTo>
                    <a:cubicBezTo>
                      <a:pt x="117575" y="61925"/>
                      <a:pt x="120131" y="64478"/>
                      <a:pt x="123965" y="64478"/>
                    </a:cubicBezTo>
                    <a:lnTo>
                      <a:pt x="169333" y="64478"/>
                    </a:lnTo>
                    <a:lnTo>
                      <a:pt x="169333" y="81076"/>
                    </a:lnTo>
                    <a:lnTo>
                      <a:pt x="35145" y="81076"/>
                    </a:lnTo>
                    <a:lnTo>
                      <a:pt x="34506" y="12768"/>
                    </a:lnTo>
                    <a:close/>
                    <a:moveTo>
                      <a:pt x="168695" y="206203"/>
                    </a:moveTo>
                    <a:lnTo>
                      <a:pt x="34506" y="206203"/>
                    </a:lnTo>
                    <a:lnTo>
                      <a:pt x="34506" y="189604"/>
                    </a:lnTo>
                    <a:lnTo>
                      <a:pt x="168695" y="189604"/>
                    </a:lnTo>
                    <a:lnTo>
                      <a:pt x="168695" y="206203"/>
                    </a:lnTo>
                    <a:close/>
                    <a:moveTo>
                      <a:pt x="190420" y="176836"/>
                    </a:moveTo>
                    <a:lnTo>
                      <a:pt x="12780" y="176836"/>
                    </a:lnTo>
                    <a:lnTo>
                      <a:pt x="12780" y="93844"/>
                    </a:lnTo>
                    <a:lnTo>
                      <a:pt x="191059" y="93844"/>
                    </a:lnTo>
                    <a:lnTo>
                      <a:pt x="190420" y="176836"/>
                    </a:lnTo>
                    <a:close/>
                  </a:path>
                </a:pathLst>
              </a:custGeom>
              <a:grpFill/>
              <a:ln w="6390" cap="flat">
                <a:noFill/>
                <a:prstDash val="solid"/>
                <a:miter/>
              </a:ln>
            </p:spPr>
            <p:txBody>
              <a:bodyPr rtlCol="0" anchor="ctr"/>
              <a:lstStyle/>
              <a:p>
                <a:endParaRPr lang="en-US" dirty="0">
                  <a:solidFill>
                    <a:schemeClr val="bg1"/>
                  </a:solidFill>
                </a:endParaRPr>
              </a:p>
            </p:txBody>
          </p:sp>
          <p:sp>
            <p:nvSpPr>
              <p:cNvPr id="179" name="Graphic 1100">
                <a:extLst>
                  <a:ext uri="{FF2B5EF4-FFF2-40B4-BE49-F238E27FC236}">
                    <a16:creationId xmlns:a16="http://schemas.microsoft.com/office/drawing/2014/main" id="{A90F3489-B9A1-44F3-8E0C-D45BF48FC807}"/>
                  </a:ext>
                </a:extLst>
              </p:cNvPr>
              <p:cNvSpPr/>
              <p:nvPr/>
            </p:nvSpPr>
            <p:spPr>
              <a:xfrm>
                <a:off x="4833987" y="2075758"/>
                <a:ext cx="34505" cy="58094"/>
              </a:xfrm>
              <a:custGeom>
                <a:avLst/>
                <a:gdLst>
                  <a:gd name="connsiteX0" fmla="*/ 28116 w 34505"/>
                  <a:gd name="connsiteY0" fmla="*/ 45326 h 58094"/>
                  <a:gd name="connsiteX1" fmla="*/ 12780 w 34505"/>
                  <a:gd name="connsiteY1" fmla="*/ 45326 h 58094"/>
                  <a:gd name="connsiteX2" fmla="*/ 12780 w 34505"/>
                  <a:gd name="connsiteY2" fmla="*/ 6384 h 58094"/>
                  <a:gd name="connsiteX3" fmla="*/ 6390 w 34505"/>
                  <a:gd name="connsiteY3" fmla="*/ 0 h 58094"/>
                  <a:gd name="connsiteX4" fmla="*/ 0 w 34505"/>
                  <a:gd name="connsiteY4" fmla="*/ 6384 h 58094"/>
                  <a:gd name="connsiteX5" fmla="*/ 0 w 34505"/>
                  <a:gd name="connsiteY5" fmla="*/ 51710 h 58094"/>
                  <a:gd name="connsiteX6" fmla="*/ 6390 w 34505"/>
                  <a:gd name="connsiteY6" fmla="*/ 58094 h 58094"/>
                  <a:gd name="connsiteX7" fmla="*/ 28116 w 34505"/>
                  <a:gd name="connsiteY7" fmla="*/ 58094 h 58094"/>
                  <a:gd name="connsiteX8" fmla="*/ 34506 w 34505"/>
                  <a:gd name="connsiteY8" fmla="*/ 51710 h 58094"/>
                  <a:gd name="connsiteX9" fmla="*/ 28116 w 34505"/>
                  <a:gd name="connsiteY9" fmla="*/ 45326 h 5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05" h="58094">
                    <a:moveTo>
                      <a:pt x="28116" y="45326"/>
                    </a:moveTo>
                    <a:lnTo>
                      <a:pt x="12780" y="45326"/>
                    </a:lnTo>
                    <a:lnTo>
                      <a:pt x="12780" y="6384"/>
                    </a:lnTo>
                    <a:cubicBezTo>
                      <a:pt x="12780" y="2554"/>
                      <a:pt x="10224" y="0"/>
                      <a:pt x="6390" y="0"/>
                    </a:cubicBezTo>
                    <a:cubicBezTo>
                      <a:pt x="2556" y="0"/>
                      <a:pt x="0" y="2554"/>
                      <a:pt x="0" y="6384"/>
                    </a:cubicBezTo>
                    <a:lnTo>
                      <a:pt x="0" y="51710"/>
                    </a:lnTo>
                    <a:cubicBezTo>
                      <a:pt x="0" y="55541"/>
                      <a:pt x="2556" y="58094"/>
                      <a:pt x="6390" y="58094"/>
                    </a:cubicBezTo>
                    <a:lnTo>
                      <a:pt x="28116" y="58094"/>
                    </a:lnTo>
                    <a:cubicBezTo>
                      <a:pt x="31950" y="58094"/>
                      <a:pt x="34506" y="55541"/>
                      <a:pt x="34506" y="51710"/>
                    </a:cubicBezTo>
                    <a:cubicBezTo>
                      <a:pt x="34506" y="47880"/>
                      <a:pt x="31311" y="45326"/>
                      <a:pt x="28116" y="45326"/>
                    </a:cubicBezTo>
                    <a:close/>
                  </a:path>
                </a:pathLst>
              </a:custGeom>
              <a:grpFill/>
              <a:ln w="6390" cap="flat">
                <a:noFill/>
                <a:prstDash val="solid"/>
                <a:miter/>
              </a:ln>
            </p:spPr>
            <p:txBody>
              <a:bodyPr rtlCol="0" anchor="ctr"/>
              <a:lstStyle/>
              <a:p>
                <a:endParaRPr lang="en-US" dirty="0">
                  <a:solidFill>
                    <a:schemeClr val="bg1"/>
                  </a:solidFill>
                </a:endParaRPr>
              </a:p>
            </p:txBody>
          </p:sp>
          <p:sp>
            <p:nvSpPr>
              <p:cNvPr id="180" name="Graphic 1100">
                <a:extLst>
                  <a:ext uri="{FF2B5EF4-FFF2-40B4-BE49-F238E27FC236}">
                    <a16:creationId xmlns:a16="http://schemas.microsoft.com/office/drawing/2014/main" id="{E326B3F0-76CC-4F08-B057-EE96376CA402}"/>
                  </a:ext>
                </a:extLst>
              </p:cNvPr>
              <p:cNvSpPr/>
              <p:nvPr/>
            </p:nvSpPr>
            <p:spPr>
              <a:xfrm>
                <a:off x="4779872" y="2075319"/>
                <a:ext cx="46886" cy="58333"/>
              </a:xfrm>
              <a:custGeom>
                <a:avLst/>
                <a:gdLst>
                  <a:gd name="connsiteX0" fmla="*/ 31111 w 46886"/>
                  <a:gd name="connsiteY0" fmla="*/ 26613 h 58333"/>
                  <a:gd name="connsiteX1" fmla="*/ 41974 w 46886"/>
                  <a:gd name="connsiteY1" fmla="*/ 10015 h 58333"/>
                  <a:gd name="connsiteX2" fmla="*/ 40057 w 46886"/>
                  <a:gd name="connsiteY2" fmla="*/ 1077 h 58333"/>
                  <a:gd name="connsiteX3" fmla="*/ 31111 w 46886"/>
                  <a:gd name="connsiteY3" fmla="*/ 2992 h 58333"/>
                  <a:gd name="connsiteX4" fmla="*/ 23443 w 46886"/>
                  <a:gd name="connsiteY4" fmla="*/ 15122 h 58333"/>
                  <a:gd name="connsiteX5" fmla="*/ 15775 w 46886"/>
                  <a:gd name="connsiteY5" fmla="*/ 2992 h 58333"/>
                  <a:gd name="connsiteX6" fmla="*/ 6829 w 46886"/>
                  <a:gd name="connsiteY6" fmla="*/ 1077 h 58333"/>
                  <a:gd name="connsiteX7" fmla="*/ 6829 w 46886"/>
                  <a:gd name="connsiteY7" fmla="*/ 1077 h 58333"/>
                  <a:gd name="connsiteX8" fmla="*/ 4912 w 46886"/>
                  <a:gd name="connsiteY8" fmla="*/ 10015 h 58333"/>
                  <a:gd name="connsiteX9" fmla="*/ 15775 w 46886"/>
                  <a:gd name="connsiteY9" fmla="*/ 26613 h 58333"/>
                  <a:gd name="connsiteX10" fmla="*/ 1078 w 46886"/>
                  <a:gd name="connsiteY10" fmla="*/ 48319 h 58333"/>
                  <a:gd name="connsiteX11" fmla="*/ 2995 w 46886"/>
                  <a:gd name="connsiteY11" fmla="*/ 57256 h 58333"/>
                  <a:gd name="connsiteX12" fmla="*/ 11941 w 46886"/>
                  <a:gd name="connsiteY12" fmla="*/ 55341 h 58333"/>
                  <a:gd name="connsiteX13" fmla="*/ 11941 w 46886"/>
                  <a:gd name="connsiteY13" fmla="*/ 55341 h 58333"/>
                  <a:gd name="connsiteX14" fmla="*/ 23443 w 46886"/>
                  <a:gd name="connsiteY14" fmla="*/ 38104 h 58333"/>
                  <a:gd name="connsiteX15" fmla="*/ 34945 w 46886"/>
                  <a:gd name="connsiteY15" fmla="*/ 55341 h 58333"/>
                  <a:gd name="connsiteX16" fmla="*/ 43891 w 46886"/>
                  <a:gd name="connsiteY16" fmla="*/ 57256 h 58333"/>
                  <a:gd name="connsiteX17" fmla="*/ 45808 w 46886"/>
                  <a:gd name="connsiteY17" fmla="*/ 48319 h 58333"/>
                  <a:gd name="connsiteX18" fmla="*/ 45808 w 46886"/>
                  <a:gd name="connsiteY18" fmla="*/ 48319 h 58333"/>
                  <a:gd name="connsiteX19" fmla="*/ 31111 w 46886"/>
                  <a:gd name="connsiteY19" fmla="*/ 26613 h 5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886" h="58333">
                    <a:moveTo>
                      <a:pt x="31111" y="26613"/>
                    </a:moveTo>
                    <a:lnTo>
                      <a:pt x="41974" y="10015"/>
                    </a:lnTo>
                    <a:cubicBezTo>
                      <a:pt x="43891" y="6823"/>
                      <a:pt x="43252" y="2992"/>
                      <a:pt x="40057" y="1077"/>
                    </a:cubicBezTo>
                    <a:cubicBezTo>
                      <a:pt x="36862" y="-838"/>
                      <a:pt x="33028" y="-200"/>
                      <a:pt x="31111" y="2992"/>
                    </a:cubicBezTo>
                    <a:lnTo>
                      <a:pt x="23443" y="15122"/>
                    </a:lnTo>
                    <a:lnTo>
                      <a:pt x="15775" y="2992"/>
                    </a:lnTo>
                    <a:cubicBezTo>
                      <a:pt x="13858" y="-200"/>
                      <a:pt x="10024" y="-838"/>
                      <a:pt x="6829" y="1077"/>
                    </a:cubicBezTo>
                    <a:cubicBezTo>
                      <a:pt x="6829" y="1077"/>
                      <a:pt x="6829" y="1077"/>
                      <a:pt x="6829" y="1077"/>
                    </a:cubicBezTo>
                    <a:cubicBezTo>
                      <a:pt x="3634" y="2992"/>
                      <a:pt x="2995" y="6823"/>
                      <a:pt x="4912" y="10015"/>
                    </a:cubicBezTo>
                    <a:lnTo>
                      <a:pt x="15775" y="26613"/>
                    </a:lnTo>
                    <a:lnTo>
                      <a:pt x="1078" y="48319"/>
                    </a:lnTo>
                    <a:cubicBezTo>
                      <a:pt x="-839" y="51511"/>
                      <a:pt x="-200" y="55341"/>
                      <a:pt x="2995" y="57256"/>
                    </a:cubicBezTo>
                    <a:cubicBezTo>
                      <a:pt x="6190" y="59172"/>
                      <a:pt x="10024" y="58533"/>
                      <a:pt x="11941" y="55341"/>
                    </a:cubicBezTo>
                    <a:cubicBezTo>
                      <a:pt x="11941" y="55341"/>
                      <a:pt x="11941" y="55341"/>
                      <a:pt x="11941" y="55341"/>
                    </a:cubicBezTo>
                    <a:lnTo>
                      <a:pt x="23443" y="38104"/>
                    </a:lnTo>
                    <a:lnTo>
                      <a:pt x="34945" y="55341"/>
                    </a:lnTo>
                    <a:cubicBezTo>
                      <a:pt x="36862" y="58533"/>
                      <a:pt x="40696" y="59172"/>
                      <a:pt x="43891" y="57256"/>
                    </a:cubicBezTo>
                    <a:cubicBezTo>
                      <a:pt x="47086" y="55341"/>
                      <a:pt x="47725" y="51511"/>
                      <a:pt x="45808" y="48319"/>
                    </a:cubicBezTo>
                    <a:cubicBezTo>
                      <a:pt x="45808" y="48319"/>
                      <a:pt x="45808" y="48319"/>
                      <a:pt x="45808" y="48319"/>
                    </a:cubicBezTo>
                    <a:lnTo>
                      <a:pt x="31111" y="26613"/>
                    </a:lnTo>
                    <a:close/>
                  </a:path>
                </a:pathLst>
              </a:custGeom>
              <a:grpFill/>
              <a:ln w="6390" cap="flat">
                <a:noFill/>
                <a:prstDash val="solid"/>
                <a:miter/>
              </a:ln>
            </p:spPr>
            <p:txBody>
              <a:bodyPr rtlCol="0" anchor="ctr"/>
              <a:lstStyle/>
              <a:p>
                <a:endParaRPr lang="en-US" dirty="0">
                  <a:solidFill>
                    <a:schemeClr val="bg1"/>
                  </a:solidFill>
                </a:endParaRPr>
              </a:p>
            </p:txBody>
          </p:sp>
          <p:sp>
            <p:nvSpPr>
              <p:cNvPr id="181" name="Graphic 1100">
                <a:extLst>
                  <a:ext uri="{FF2B5EF4-FFF2-40B4-BE49-F238E27FC236}">
                    <a16:creationId xmlns:a16="http://schemas.microsoft.com/office/drawing/2014/main" id="{A5016312-198C-4950-B1FF-BD08EC4FA6F8}"/>
                  </a:ext>
                </a:extLst>
              </p:cNvPr>
              <p:cNvSpPr/>
              <p:nvPr/>
            </p:nvSpPr>
            <p:spPr>
              <a:xfrm>
                <a:off x="4872476" y="2073986"/>
                <a:ext cx="38708" cy="59288"/>
              </a:xfrm>
              <a:custGeom>
                <a:avLst/>
                <a:gdLst>
                  <a:gd name="connsiteX0" fmla="*/ 23494 w 38708"/>
                  <a:gd name="connsiteY0" fmla="*/ 24116 h 59288"/>
                  <a:gd name="connsiteX1" fmla="*/ 15826 w 38708"/>
                  <a:gd name="connsiteY1" fmla="*/ 17732 h 59288"/>
                  <a:gd name="connsiteX2" fmla="*/ 17104 w 38708"/>
                  <a:gd name="connsiteY2" fmla="*/ 13902 h 59288"/>
                  <a:gd name="connsiteX3" fmla="*/ 29244 w 38708"/>
                  <a:gd name="connsiteY3" fmla="*/ 13902 h 59288"/>
                  <a:gd name="connsiteX4" fmla="*/ 36912 w 38708"/>
                  <a:gd name="connsiteY4" fmla="*/ 9433 h 59288"/>
                  <a:gd name="connsiteX5" fmla="*/ 32439 w 38708"/>
                  <a:gd name="connsiteY5" fmla="*/ 1772 h 59288"/>
                  <a:gd name="connsiteX6" fmla="*/ 6880 w 38708"/>
                  <a:gd name="connsiteY6" fmla="*/ 4964 h 59288"/>
                  <a:gd name="connsiteX7" fmla="*/ 2407 w 38708"/>
                  <a:gd name="connsiteY7" fmla="*/ 20285 h 59288"/>
                  <a:gd name="connsiteX8" fmla="*/ 17743 w 38708"/>
                  <a:gd name="connsiteY8" fmla="*/ 35607 h 59288"/>
                  <a:gd name="connsiteX9" fmla="*/ 24772 w 38708"/>
                  <a:gd name="connsiteY9" fmla="*/ 40714 h 59288"/>
                  <a:gd name="connsiteX10" fmla="*/ 24772 w 38708"/>
                  <a:gd name="connsiteY10" fmla="*/ 43268 h 59288"/>
                  <a:gd name="connsiteX11" fmla="*/ 8797 w 38708"/>
                  <a:gd name="connsiteY11" fmla="*/ 44545 h 59288"/>
                  <a:gd name="connsiteX12" fmla="*/ 490 w 38708"/>
                  <a:gd name="connsiteY12" fmla="*/ 47737 h 59288"/>
                  <a:gd name="connsiteX13" fmla="*/ 490 w 38708"/>
                  <a:gd name="connsiteY13" fmla="*/ 47737 h 59288"/>
                  <a:gd name="connsiteX14" fmla="*/ 3685 w 38708"/>
                  <a:gd name="connsiteY14" fmla="*/ 56036 h 59288"/>
                  <a:gd name="connsiteX15" fmla="*/ 17743 w 38708"/>
                  <a:gd name="connsiteY15" fmla="*/ 59228 h 59288"/>
                  <a:gd name="connsiteX16" fmla="*/ 36912 w 38708"/>
                  <a:gd name="connsiteY16" fmla="*/ 49013 h 59288"/>
                  <a:gd name="connsiteX17" fmla="*/ 37552 w 38708"/>
                  <a:gd name="connsiteY17" fmla="*/ 36245 h 59288"/>
                  <a:gd name="connsiteX18" fmla="*/ 23494 w 38708"/>
                  <a:gd name="connsiteY18" fmla="*/ 24116 h 5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708" h="59288">
                    <a:moveTo>
                      <a:pt x="23494" y="24116"/>
                    </a:moveTo>
                    <a:cubicBezTo>
                      <a:pt x="19021" y="22201"/>
                      <a:pt x="16464" y="19647"/>
                      <a:pt x="15826" y="17732"/>
                    </a:cubicBezTo>
                    <a:cubicBezTo>
                      <a:pt x="15826" y="16455"/>
                      <a:pt x="15826" y="15178"/>
                      <a:pt x="17104" y="13902"/>
                    </a:cubicBezTo>
                    <a:cubicBezTo>
                      <a:pt x="18382" y="12625"/>
                      <a:pt x="24772" y="12625"/>
                      <a:pt x="29244" y="13902"/>
                    </a:cubicBezTo>
                    <a:cubicBezTo>
                      <a:pt x="32439" y="15178"/>
                      <a:pt x="36273" y="13263"/>
                      <a:pt x="36912" y="9433"/>
                    </a:cubicBezTo>
                    <a:cubicBezTo>
                      <a:pt x="38190" y="6241"/>
                      <a:pt x="36273" y="2410"/>
                      <a:pt x="32439" y="1772"/>
                    </a:cubicBezTo>
                    <a:cubicBezTo>
                      <a:pt x="29244" y="1134"/>
                      <a:pt x="14548" y="-3335"/>
                      <a:pt x="6880" y="4964"/>
                    </a:cubicBezTo>
                    <a:cubicBezTo>
                      <a:pt x="3046" y="8794"/>
                      <a:pt x="1129" y="14540"/>
                      <a:pt x="2407" y="20285"/>
                    </a:cubicBezTo>
                    <a:cubicBezTo>
                      <a:pt x="4324" y="27946"/>
                      <a:pt x="10075" y="33692"/>
                      <a:pt x="17743" y="35607"/>
                    </a:cubicBezTo>
                    <a:cubicBezTo>
                      <a:pt x="23494" y="38161"/>
                      <a:pt x="24772" y="40076"/>
                      <a:pt x="24772" y="40714"/>
                    </a:cubicBezTo>
                    <a:cubicBezTo>
                      <a:pt x="24772" y="41353"/>
                      <a:pt x="25411" y="41353"/>
                      <a:pt x="24772" y="43268"/>
                    </a:cubicBezTo>
                    <a:cubicBezTo>
                      <a:pt x="24132" y="45183"/>
                      <a:pt x="19021" y="49013"/>
                      <a:pt x="8797" y="44545"/>
                    </a:cubicBezTo>
                    <a:cubicBezTo>
                      <a:pt x="5602" y="43268"/>
                      <a:pt x="1768" y="44545"/>
                      <a:pt x="490" y="47737"/>
                    </a:cubicBezTo>
                    <a:cubicBezTo>
                      <a:pt x="490" y="47737"/>
                      <a:pt x="490" y="47737"/>
                      <a:pt x="490" y="47737"/>
                    </a:cubicBezTo>
                    <a:cubicBezTo>
                      <a:pt x="-788" y="50929"/>
                      <a:pt x="490" y="54759"/>
                      <a:pt x="3685" y="56036"/>
                    </a:cubicBezTo>
                    <a:cubicBezTo>
                      <a:pt x="8158" y="57951"/>
                      <a:pt x="12631" y="59228"/>
                      <a:pt x="17743" y="59228"/>
                    </a:cubicBezTo>
                    <a:cubicBezTo>
                      <a:pt x="25411" y="59866"/>
                      <a:pt x="33079" y="55397"/>
                      <a:pt x="36912" y="49013"/>
                    </a:cubicBezTo>
                    <a:cubicBezTo>
                      <a:pt x="38829" y="45183"/>
                      <a:pt x="39468" y="40714"/>
                      <a:pt x="37552" y="36245"/>
                    </a:cubicBezTo>
                    <a:cubicBezTo>
                      <a:pt x="34995" y="30500"/>
                      <a:pt x="29884" y="26031"/>
                      <a:pt x="23494" y="24116"/>
                    </a:cubicBezTo>
                    <a:close/>
                  </a:path>
                </a:pathLst>
              </a:custGeom>
              <a:grpFill/>
              <a:ln w="6390" cap="flat">
                <a:noFill/>
                <a:prstDash val="solid"/>
                <a:miter/>
              </a:ln>
            </p:spPr>
            <p:txBody>
              <a:bodyPr rtlCol="0" anchor="ctr"/>
              <a:lstStyle/>
              <a:p>
                <a:endParaRPr lang="en-US" dirty="0">
                  <a:solidFill>
                    <a:schemeClr val="bg1"/>
                  </a:solidFill>
                </a:endParaRPr>
              </a:p>
            </p:txBody>
          </p:sp>
        </p:grpSp>
        <p:grpSp>
          <p:nvGrpSpPr>
            <p:cNvPr id="168" name="Graphic 1100">
              <a:extLst>
                <a:ext uri="{FF2B5EF4-FFF2-40B4-BE49-F238E27FC236}">
                  <a16:creationId xmlns:a16="http://schemas.microsoft.com/office/drawing/2014/main" id="{DABD9DC4-DAE5-44CA-ACCA-39855D45B6DB}"/>
                </a:ext>
              </a:extLst>
            </p:cNvPr>
            <p:cNvGrpSpPr/>
            <p:nvPr/>
          </p:nvGrpSpPr>
          <p:grpSpPr>
            <a:xfrm>
              <a:off x="5824256" y="2046748"/>
              <a:ext cx="462293" cy="542345"/>
              <a:chOff x="4741333" y="1477579"/>
              <a:chExt cx="204477" cy="218970"/>
            </a:xfrm>
            <a:solidFill>
              <a:schemeClr val="bg2">
                <a:lumMod val="50000"/>
              </a:schemeClr>
            </a:solidFill>
          </p:grpSpPr>
          <p:sp>
            <p:nvSpPr>
              <p:cNvPr id="174" name="Graphic 1100">
                <a:extLst>
                  <a:ext uri="{FF2B5EF4-FFF2-40B4-BE49-F238E27FC236}">
                    <a16:creationId xmlns:a16="http://schemas.microsoft.com/office/drawing/2014/main" id="{31402403-CD4C-4670-A2DA-EAF3B5FD9871}"/>
                  </a:ext>
                </a:extLst>
              </p:cNvPr>
              <p:cNvSpPr/>
              <p:nvPr/>
            </p:nvSpPr>
            <p:spPr>
              <a:xfrm>
                <a:off x="4741333" y="1477579"/>
                <a:ext cx="204477" cy="218970"/>
              </a:xfrm>
              <a:custGeom>
                <a:avLst/>
                <a:gdLst>
                  <a:gd name="connsiteX0" fmla="*/ 197449 w 204477"/>
                  <a:gd name="connsiteY0" fmla="*/ 81077 h 218970"/>
                  <a:gd name="connsiteX1" fmla="*/ 181474 w 204477"/>
                  <a:gd name="connsiteY1" fmla="*/ 81077 h 218970"/>
                  <a:gd name="connsiteX2" fmla="*/ 181474 w 204477"/>
                  <a:gd name="connsiteY2" fmla="*/ 58094 h 218970"/>
                  <a:gd name="connsiteX3" fmla="*/ 180835 w 204477"/>
                  <a:gd name="connsiteY3" fmla="*/ 55541 h 218970"/>
                  <a:gd name="connsiteX4" fmla="*/ 179557 w 204477"/>
                  <a:gd name="connsiteY4" fmla="*/ 53626 h 218970"/>
                  <a:gd name="connsiteX5" fmla="*/ 128438 w 204477"/>
                  <a:gd name="connsiteY5" fmla="*/ 1915 h 218970"/>
                  <a:gd name="connsiteX6" fmla="*/ 126521 w 204477"/>
                  <a:gd name="connsiteY6" fmla="*/ 638 h 218970"/>
                  <a:gd name="connsiteX7" fmla="*/ 123965 w 204477"/>
                  <a:gd name="connsiteY7" fmla="*/ 0 h 218970"/>
                  <a:gd name="connsiteX8" fmla="*/ 28116 w 204477"/>
                  <a:gd name="connsiteY8" fmla="*/ 0 h 218970"/>
                  <a:gd name="connsiteX9" fmla="*/ 21726 w 204477"/>
                  <a:gd name="connsiteY9" fmla="*/ 6384 h 218970"/>
                  <a:gd name="connsiteX10" fmla="*/ 21726 w 204477"/>
                  <a:gd name="connsiteY10" fmla="*/ 81077 h 218970"/>
                  <a:gd name="connsiteX11" fmla="*/ 6390 w 204477"/>
                  <a:gd name="connsiteY11" fmla="*/ 81077 h 218970"/>
                  <a:gd name="connsiteX12" fmla="*/ 0 w 204477"/>
                  <a:gd name="connsiteY12" fmla="*/ 87461 h 218970"/>
                  <a:gd name="connsiteX13" fmla="*/ 0 w 204477"/>
                  <a:gd name="connsiteY13" fmla="*/ 183220 h 218970"/>
                  <a:gd name="connsiteX14" fmla="*/ 6390 w 204477"/>
                  <a:gd name="connsiteY14" fmla="*/ 189604 h 218970"/>
                  <a:gd name="connsiteX15" fmla="*/ 22365 w 204477"/>
                  <a:gd name="connsiteY15" fmla="*/ 189604 h 218970"/>
                  <a:gd name="connsiteX16" fmla="*/ 22365 w 204477"/>
                  <a:gd name="connsiteY16" fmla="*/ 212587 h 218970"/>
                  <a:gd name="connsiteX17" fmla="*/ 28755 w 204477"/>
                  <a:gd name="connsiteY17" fmla="*/ 218971 h 218970"/>
                  <a:gd name="connsiteX18" fmla="*/ 175723 w 204477"/>
                  <a:gd name="connsiteY18" fmla="*/ 218971 h 218970"/>
                  <a:gd name="connsiteX19" fmla="*/ 182113 w 204477"/>
                  <a:gd name="connsiteY19" fmla="*/ 212587 h 218970"/>
                  <a:gd name="connsiteX20" fmla="*/ 182113 w 204477"/>
                  <a:gd name="connsiteY20" fmla="*/ 189604 h 218970"/>
                  <a:gd name="connsiteX21" fmla="*/ 198088 w 204477"/>
                  <a:gd name="connsiteY21" fmla="*/ 189604 h 218970"/>
                  <a:gd name="connsiteX22" fmla="*/ 204478 w 204477"/>
                  <a:gd name="connsiteY22" fmla="*/ 183220 h 218970"/>
                  <a:gd name="connsiteX23" fmla="*/ 204478 w 204477"/>
                  <a:gd name="connsiteY23" fmla="*/ 87461 h 218970"/>
                  <a:gd name="connsiteX24" fmla="*/ 197449 w 204477"/>
                  <a:gd name="connsiteY24" fmla="*/ 81077 h 218970"/>
                  <a:gd name="connsiteX25" fmla="*/ 197449 w 204477"/>
                  <a:gd name="connsiteY25" fmla="*/ 81077 h 218970"/>
                  <a:gd name="connsiteX26" fmla="*/ 130355 w 204477"/>
                  <a:gd name="connsiteY26" fmla="*/ 22344 h 218970"/>
                  <a:gd name="connsiteX27" fmla="*/ 159748 w 204477"/>
                  <a:gd name="connsiteY27" fmla="*/ 51710 h 218970"/>
                  <a:gd name="connsiteX28" fmla="*/ 130355 w 204477"/>
                  <a:gd name="connsiteY28" fmla="*/ 51710 h 218970"/>
                  <a:gd name="connsiteX29" fmla="*/ 130355 w 204477"/>
                  <a:gd name="connsiteY29" fmla="*/ 22344 h 218970"/>
                  <a:gd name="connsiteX30" fmla="*/ 34506 w 204477"/>
                  <a:gd name="connsiteY30" fmla="*/ 13406 h 218970"/>
                  <a:gd name="connsiteX31" fmla="*/ 117575 w 204477"/>
                  <a:gd name="connsiteY31" fmla="*/ 13406 h 218970"/>
                  <a:gd name="connsiteX32" fmla="*/ 117575 w 204477"/>
                  <a:gd name="connsiteY32" fmla="*/ 58733 h 218970"/>
                  <a:gd name="connsiteX33" fmla="*/ 123965 w 204477"/>
                  <a:gd name="connsiteY33" fmla="*/ 65117 h 218970"/>
                  <a:gd name="connsiteX34" fmla="*/ 169333 w 204477"/>
                  <a:gd name="connsiteY34" fmla="*/ 65117 h 218970"/>
                  <a:gd name="connsiteX35" fmla="*/ 169333 w 204477"/>
                  <a:gd name="connsiteY35" fmla="*/ 81715 h 218970"/>
                  <a:gd name="connsiteX36" fmla="*/ 35145 w 204477"/>
                  <a:gd name="connsiteY36" fmla="*/ 81715 h 218970"/>
                  <a:gd name="connsiteX37" fmla="*/ 34506 w 204477"/>
                  <a:gd name="connsiteY37" fmla="*/ 13406 h 218970"/>
                  <a:gd name="connsiteX38" fmla="*/ 168695 w 204477"/>
                  <a:gd name="connsiteY38" fmla="*/ 206203 h 218970"/>
                  <a:gd name="connsiteX39" fmla="*/ 34506 w 204477"/>
                  <a:gd name="connsiteY39" fmla="*/ 206203 h 218970"/>
                  <a:gd name="connsiteX40" fmla="*/ 34506 w 204477"/>
                  <a:gd name="connsiteY40" fmla="*/ 189604 h 218970"/>
                  <a:gd name="connsiteX41" fmla="*/ 168695 w 204477"/>
                  <a:gd name="connsiteY41" fmla="*/ 189604 h 218970"/>
                  <a:gd name="connsiteX42" fmla="*/ 168695 w 204477"/>
                  <a:gd name="connsiteY42" fmla="*/ 206203 h 218970"/>
                  <a:gd name="connsiteX43" fmla="*/ 190420 w 204477"/>
                  <a:gd name="connsiteY43" fmla="*/ 176836 h 218970"/>
                  <a:gd name="connsiteX44" fmla="*/ 12780 w 204477"/>
                  <a:gd name="connsiteY44" fmla="*/ 176836 h 218970"/>
                  <a:gd name="connsiteX45" fmla="*/ 12780 w 204477"/>
                  <a:gd name="connsiteY45" fmla="*/ 93845 h 218970"/>
                  <a:gd name="connsiteX46" fmla="*/ 191059 w 204477"/>
                  <a:gd name="connsiteY46" fmla="*/ 93845 h 218970"/>
                  <a:gd name="connsiteX47" fmla="*/ 190420 w 204477"/>
                  <a:gd name="connsiteY47" fmla="*/ 176836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4477" h="218970">
                    <a:moveTo>
                      <a:pt x="197449" y="81077"/>
                    </a:moveTo>
                    <a:lnTo>
                      <a:pt x="181474" y="81077"/>
                    </a:lnTo>
                    <a:lnTo>
                      <a:pt x="181474" y="58094"/>
                    </a:lnTo>
                    <a:cubicBezTo>
                      <a:pt x="181474" y="57456"/>
                      <a:pt x="181474" y="56179"/>
                      <a:pt x="180835" y="55541"/>
                    </a:cubicBezTo>
                    <a:cubicBezTo>
                      <a:pt x="180835" y="54902"/>
                      <a:pt x="180196" y="54264"/>
                      <a:pt x="179557" y="53626"/>
                    </a:cubicBezTo>
                    <a:lnTo>
                      <a:pt x="128438" y="1915"/>
                    </a:lnTo>
                    <a:cubicBezTo>
                      <a:pt x="127799" y="1277"/>
                      <a:pt x="127160" y="638"/>
                      <a:pt x="126521" y="638"/>
                    </a:cubicBezTo>
                    <a:cubicBezTo>
                      <a:pt x="125882" y="0"/>
                      <a:pt x="125243" y="0"/>
                      <a:pt x="123965" y="0"/>
                    </a:cubicBezTo>
                    <a:lnTo>
                      <a:pt x="28116" y="0"/>
                    </a:lnTo>
                    <a:cubicBezTo>
                      <a:pt x="24282" y="0"/>
                      <a:pt x="21726" y="2554"/>
                      <a:pt x="21726" y="6384"/>
                    </a:cubicBezTo>
                    <a:lnTo>
                      <a:pt x="21726" y="81077"/>
                    </a:lnTo>
                    <a:lnTo>
                      <a:pt x="6390" y="81077"/>
                    </a:lnTo>
                    <a:cubicBezTo>
                      <a:pt x="2556" y="81077"/>
                      <a:pt x="0" y="83630"/>
                      <a:pt x="0" y="87461"/>
                    </a:cubicBezTo>
                    <a:lnTo>
                      <a:pt x="0" y="183220"/>
                    </a:lnTo>
                    <a:cubicBezTo>
                      <a:pt x="0" y="187051"/>
                      <a:pt x="2556" y="189604"/>
                      <a:pt x="6390" y="189604"/>
                    </a:cubicBezTo>
                    <a:lnTo>
                      <a:pt x="22365" y="189604"/>
                    </a:lnTo>
                    <a:lnTo>
                      <a:pt x="22365" y="212587"/>
                    </a:lnTo>
                    <a:cubicBezTo>
                      <a:pt x="22365" y="216417"/>
                      <a:pt x="24921" y="218971"/>
                      <a:pt x="28755" y="218971"/>
                    </a:cubicBezTo>
                    <a:lnTo>
                      <a:pt x="175723" y="218971"/>
                    </a:lnTo>
                    <a:cubicBezTo>
                      <a:pt x="179557" y="218971"/>
                      <a:pt x="182113" y="216417"/>
                      <a:pt x="182113" y="212587"/>
                    </a:cubicBezTo>
                    <a:lnTo>
                      <a:pt x="182113" y="189604"/>
                    </a:lnTo>
                    <a:lnTo>
                      <a:pt x="198088" y="189604"/>
                    </a:lnTo>
                    <a:cubicBezTo>
                      <a:pt x="201922" y="189604"/>
                      <a:pt x="204478" y="187051"/>
                      <a:pt x="204478" y="183220"/>
                    </a:cubicBezTo>
                    <a:lnTo>
                      <a:pt x="204478" y="87461"/>
                    </a:lnTo>
                    <a:cubicBezTo>
                      <a:pt x="203839" y="84269"/>
                      <a:pt x="201283" y="81077"/>
                      <a:pt x="197449" y="81077"/>
                    </a:cubicBezTo>
                    <a:lnTo>
                      <a:pt x="197449" y="81077"/>
                    </a:lnTo>
                    <a:close/>
                    <a:moveTo>
                      <a:pt x="130355" y="22344"/>
                    </a:moveTo>
                    <a:lnTo>
                      <a:pt x="159748" y="51710"/>
                    </a:lnTo>
                    <a:lnTo>
                      <a:pt x="130355" y="51710"/>
                    </a:lnTo>
                    <a:lnTo>
                      <a:pt x="130355" y="22344"/>
                    </a:lnTo>
                    <a:close/>
                    <a:moveTo>
                      <a:pt x="34506" y="13406"/>
                    </a:moveTo>
                    <a:lnTo>
                      <a:pt x="117575" y="13406"/>
                    </a:lnTo>
                    <a:lnTo>
                      <a:pt x="117575" y="58733"/>
                    </a:lnTo>
                    <a:cubicBezTo>
                      <a:pt x="117575" y="62563"/>
                      <a:pt x="120131" y="65117"/>
                      <a:pt x="123965" y="65117"/>
                    </a:cubicBezTo>
                    <a:lnTo>
                      <a:pt x="169333" y="65117"/>
                    </a:lnTo>
                    <a:lnTo>
                      <a:pt x="169333" y="81715"/>
                    </a:lnTo>
                    <a:lnTo>
                      <a:pt x="35145" y="81715"/>
                    </a:lnTo>
                    <a:lnTo>
                      <a:pt x="34506" y="13406"/>
                    </a:lnTo>
                    <a:close/>
                    <a:moveTo>
                      <a:pt x="168695" y="206203"/>
                    </a:moveTo>
                    <a:lnTo>
                      <a:pt x="34506" y="206203"/>
                    </a:lnTo>
                    <a:lnTo>
                      <a:pt x="34506" y="189604"/>
                    </a:lnTo>
                    <a:lnTo>
                      <a:pt x="168695" y="189604"/>
                    </a:lnTo>
                    <a:lnTo>
                      <a:pt x="168695" y="206203"/>
                    </a:lnTo>
                    <a:close/>
                    <a:moveTo>
                      <a:pt x="190420" y="176836"/>
                    </a:moveTo>
                    <a:lnTo>
                      <a:pt x="12780" y="176836"/>
                    </a:lnTo>
                    <a:lnTo>
                      <a:pt x="12780" y="93845"/>
                    </a:lnTo>
                    <a:lnTo>
                      <a:pt x="191059" y="93845"/>
                    </a:lnTo>
                    <a:lnTo>
                      <a:pt x="190420" y="176836"/>
                    </a:lnTo>
                    <a:close/>
                  </a:path>
                </a:pathLst>
              </a:custGeom>
              <a:grpFill/>
              <a:ln w="6390" cap="flat">
                <a:noFill/>
                <a:prstDash val="solid"/>
                <a:miter/>
              </a:ln>
            </p:spPr>
            <p:txBody>
              <a:bodyPr rtlCol="0" anchor="ctr"/>
              <a:lstStyle/>
              <a:p>
                <a:endParaRPr lang="en-US" dirty="0">
                  <a:solidFill>
                    <a:schemeClr val="bg1"/>
                  </a:solidFill>
                </a:endParaRPr>
              </a:p>
            </p:txBody>
          </p:sp>
          <p:sp>
            <p:nvSpPr>
              <p:cNvPr id="175" name="Graphic 1100">
                <a:extLst>
                  <a:ext uri="{FF2B5EF4-FFF2-40B4-BE49-F238E27FC236}">
                    <a16:creationId xmlns:a16="http://schemas.microsoft.com/office/drawing/2014/main" id="{E6CFE5FA-AF40-4497-802E-0EDDA36D672A}"/>
                  </a:ext>
                </a:extLst>
              </p:cNvPr>
              <p:cNvSpPr/>
              <p:nvPr/>
            </p:nvSpPr>
            <p:spPr>
              <a:xfrm>
                <a:off x="4867854" y="1586107"/>
                <a:ext cx="47285" cy="57455"/>
              </a:xfrm>
              <a:custGeom>
                <a:avLst/>
                <a:gdLst>
                  <a:gd name="connsiteX0" fmla="*/ 40896 w 47285"/>
                  <a:gd name="connsiteY0" fmla="*/ 0 h 57455"/>
                  <a:gd name="connsiteX1" fmla="*/ 6390 w 47285"/>
                  <a:gd name="connsiteY1" fmla="*/ 0 h 57455"/>
                  <a:gd name="connsiteX2" fmla="*/ 0 w 47285"/>
                  <a:gd name="connsiteY2" fmla="*/ 6384 h 57455"/>
                  <a:gd name="connsiteX3" fmla="*/ 6390 w 47285"/>
                  <a:gd name="connsiteY3" fmla="*/ 12768 h 57455"/>
                  <a:gd name="connsiteX4" fmla="*/ 17253 w 47285"/>
                  <a:gd name="connsiteY4" fmla="*/ 12768 h 57455"/>
                  <a:gd name="connsiteX5" fmla="*/ 17253 w 47285"/>
                  <a:gd name="connsiteY5" fmla="*/ 51072 h 57455"/>
                  <a:gd name="connsiteX6" fmla="*/ 23643 w 47285"/>
                  <a:gd name="connsiteY6" fmla="*/ 57456 h 57455"/>
                  <a:gd name="connsiteX7" fmla="*/ 30033 w 47285"/>
                  <a:gd name="connsiteY7" fmla="*/ 51072 h 57455"/>
                  <a:gd name="connsiteX8" fmla="*/ 30033 w 47285"/>
                  <a:gd name="connsiteY8" fmla="*/ 12768 h 57455"/>
                  <a:gd name="connsiteX9" fmla="*/ 40896 w 47285"/>
                  <a:gd name="connsiteY9" fmla="*/ 12768 h 57455"/>
                  <a:gd name="connsiteX10" fmla="*/ 47286 w 47285"/>
                  <a:gd name="connsiteY10" fmla="*/ 6384 h 57455"/>
                  <a:gd name="connsiteX11" fmla="*/ 40896 w 47285"/>
                  <a:gd name="connsiteY11" fmla="*/ 0 h 57455"/>
                  <a:gd name="connsiteX12" fmla="*/ 40896 w 47285"/>
                  <a:gd name="connsiteY12" fmla="*/ 0 h 5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285" h="57455">
                    <a:moveTo>
                      <a:pt x="40896" y="0"/>
                    </a:moveTo>
                    <a:lnTo>
                      <a:pt x="6390" y="0"/>
                    </a:lnTo>
                    <a:cubicBezTo>
                      <a:pt x="2556" y="0"/>
                      <a:pt x="0" y="2554"/>
                      <a:pt x="0" y="6384"/>
                    </a:cubicBezTo>
                    <a:cubicBezTo>
                      <a:pt x="0" y="10214"/>
                      <a:pt x="2556" y="12768"/>
                      <a:pt x="6390" y="12768"/>
                    </a:cubicBezTo>
                    <a:lnTo>
                      <a:pt x="17253" y="12768"/>
                    </a:lnTo>
                    <a:lnTo>
                      <a:pt x="17253" y="51072"/>
                    </a:lnTo>
                    <a:cubicBezTo>
                      <a:pt x="17253" y="54902"/>
                      <a:pt x="19809" y="57456"/>
                      <a:pt x="23643" y="57456"/>
                    </a:cubicBezTo>
                    <a:cubicBezTo>
                      <a:pt x="27477" y="57456"/>
                      <a:pt x="30033" y="54902"/>
                      <a:pt x="30033" y="51072"/>
                    </a:cubicBezTo>
                    <a:lnTo>
                      <a:pt x="30033" y="12768"/>
                    </a:lnTo>
                    <a:lnTo>
                      <a:pt x="40896" y="12768"/>
                    </a:lnTo>
                    <a:cubicBezTo>
                      <a:pt x="44730" y="12768"/>
                      <a:pt x="47286" y="10214"/>
                      <a:pt x="47286" y="6384"/>
                    </a:cubicBezTo>
                    <a:cubicBezTo>
                      <a:pt x="47286" y="2554"/>
                      <a:pt x="44730" y="0"/>
                      <a:pt x="40896" y="0"/>
                    </a:cubicBezTo>
                    <a:lnTo>
                      <a:pt x="40896" y="0"/>
                    </a:lnTo>
                    <a:close/>
                  </a:path>
                </a:pathLst>
              </a:custGeom>
              <a:grpFill/>
              <a:ln w="6390" cap="flat">
                <a:noFill/>
                <a:prstDash val="solid"/>
                <a:miter/>
              </a:ln>
            </p:spPr>
            <p:txBody>
              <a:bodyPr rtlCol="0" anchor="ctr"/>
              <a:lstStyle/>
              <a:p>
                <a:endParaRPr lang="en-US" dirty="0">
                  <a:solidFill>
                    <a:schemeClr val="bg1"/>
                  </a:solidFill>
                </a:endParaRPr>
              </a:p>
            </p:txBody>
          </p:sp>
          <p:sp>
            <p:nvSpPr>
              <p:cNvPr id="176" name="Graphic 1100">
                <a:extLst>
                  <a:ext uri="{FF2B5EF4-FFF2-40B4-BE49-F238E27FC236}">
                    <a16:creationId xmlns:a16="http://schemas.microsoft.com/office/drawing/2014/main" id="{0E9C14C7-648E-4374-B2C0-D91ECD596377}"/>
                  </a:ext>
                </a:extLst>
              </p:cNvPr>
              <p:cNvSpPr/>
              <p:nvPr/>
            </p:nvSpPr>
            <p:spPr>
              <a:xfrm>
                <a:off x="4775199" y="1586107"/>
                <a:ext cx="39099" cy="56817"/>
              </a:xfrm>
              <a:custGeom>
                <a:avLst/>
                <a:gdLst>
                  <a:gd name="connsiteX0" fmla="*/ 21087 w 39099"/>
                  <a:gd name="connsiteY0" fmla="*/ 0 h 56817"/>
                  <a:gd name="connsiteX1" fmla="*/ 6390 w 39099"/>
                  <a:gd name="connsiteY1" fmla="*/ 0 h 56817"/>
                  <a:gd name="connsiteX2" fmla="*/ 0 w 39099"/>
                  <a:gd name="connsiteY2" fmla="*/ 6384 h 56817"/>
                  <a:gd name="connsiteX3" fmla="*/ 0 w 39099"/>
                  <a:gd name="connsiteY3" fmla="*/ 50434 h 56817"/>
                  <a:gd name="connsiteX4" fmla="*/ 6390 w 39099"/>
                  <a:gd name="connsiteY4" fmla="*/ 56818 h 56817"/>
                  <a:gd name="connsiteX5" fmla="*/ 12780 w 39099"/>
                  <a:gd name="connsiteY5" fmla="*/ 50434 h 56817"/>
                  <a:gd name="connsiteX6" fmla="*/ 12780 w 39099"/>
                  <a:gd name="connsiteY6" fmla="*/ 38304 h 56817"/>
                  <a:gd name="connsiteX7" fmla="*/ 21087 w 39099"/>
                  <a:gd name="connsiteY7" fmla="*/ 38304 h 56817"/>
                  <a:gd name="connsiteX8" fmla="*/ 33867 w 39099"/>
                  <a:gd name="connsiteY8" fmla="*/ 33197 h 56817"/>
                  <a:gd name="connsiteX9" fmla="*/ 38979 w 39099"/>
                  <a:gd name="connsiteY9" fmla="*/ 19152 h 56817"/>
                  <a:gd name="connsiteX10" fmla="*/ 33867 w 39099"/>
                  <a:gd name="connsiteY10" fmla="*/ 5107 h 56817"/>
                  <a:gd name="connsiteX11" fmla="*/ 21087 w 39099"/>
                  <a:gd name="connsiteY11" fmla="*/ 0 h 56817"/>
                  <a:gd name="connsiteX12" fmla="*/ 21087 w 39099"/>
                  <a:gd name="connsiteY12" fmla="*/ 25536 h 56817"/>
                  <a:gd name="connsiteX13" fmla="*/ 12780 w 39099"/>
                  <a:gd name="connsiteY13" fmla="*/ 25536 h 56817"/>
                  <a:gd name="connsiteX14" fmla="*/ 12780 w 39099"/>
                  <a:gd name="connsiteY14" fmla="*/ 12768 h 56817"/>
                  <a:gd name="connsiteX15" fmla="*/ 21087 w 39099"/>
                  <a:gd name="connsiteY15" fmla="*/ 12768 h 56817"/>
                  <a:gd name="connsiteX16" fmla="*/ 24921 w 39099"/>
                  <a:gd name="connsiteY16" fmla="*/ 14045 h 56817"/>
                  <a:gd name="connsiteX17" fmla="*/ 26199 w 39099"/>
                  <a:gd name="connsiteY17" fmla="*/ 19152 h 56817"/>
                  <a:gd name="connsiteX18" fmla="*/ 21087 w 39099"/>
                  <a:gd name="connsiteY18" fmla="*/ 25536 h 56817"/>
                  <a:gd name="connsiteX19" fmla="*/ 21087 w 39099"/>
                  <a:gd name="connsiteY19" fmla="*/ 25536 h 5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099" h="56817">
                    <a:moveTo>
                      <a:pt x="21087" y="0"/>
                    </a:moveTo>
                    <a:lnTo>
                      <a:pt x="6390" y="0"/>
                    </a:lnTo>
                    <a:cubicBezTo>
                      <a:pt x="2556" y="0"/>
                      <a:pt x="0" y="2554"/>
                      <a:pt x="0" y="6384"/>
                    </a:cubicBezTo>
                    <a:lnTo>
                      <a:pt x="0" y="50434"/>
                    </a:lnTo>
                    <a:cubicBezTo>
                      <a:pt x="0" y="54264"/>
                      <a:pt x="2556" y="56818"/>
                      <a:pt x="6390" y="56818"/>
                    </a:cubicBezTo>
                    <a:cubicBezTo>
                      <a:pt x="10224" y="56818"/>
                      <a:pt x="12780" y="54264"/>
                      <a:pt x="12780" y="50434"/>
                    </a:cubicBezTo>
                    <a:lnTo>
                      <a:pt x="12780" y="38304"/>
                    </a:lnTo>
                    <a:lnTo>
                      <a:pt x="21087" y="38304"/>
                    </a:lnTo>
                    <a:cubicBezTo>
                      <a:pt x="25560" y="38304"/>
                      <a:pt x="30672" y="36389"/>
                      <a:pt x="33867" y="33197"/>
                    </a:cubicBezTo>
                    <a:cubicBezTo>
                      <a:pt x="37701" y="29366"/>
                      <a:pt x="39618" y="24259"/>
                      <a:pt x="38979" y="19152"/>
                    </a:cubicBezTo>
                    <a:cubicBezTo>
                      <a:pt x="38979" y="14045"/>
                      <a:pt x="37062" y="8938"/>
                      <a:pt x="33867" y="5107"/>
                    </a:cubicBezTo>
                    <a:cubicBezTo>
                      <a:pt x="30033" y="1915"/>
                      <a:pt x="25560" y="0"/>
                      <a:pt x="21087" y="0"/>
                    </a:cubicBezTo>
                    <a:close/>
                    <a:moveTo>
                      <a:pt x="21087" y="25536"/>
                    </a:moveTo>
                    <a:lnTo>
                      <a:pt x="12780" y="25536"/>
                    </a:lnTo>
                    <a:lnTo>
                      <a:pt x="12780" y="12768"/>
                    </a:lnTo>
                    <a:lnTo>
                      <a:pt x="21087" y="12768"/>
                    </a:lnTo>
                    <a:cubicBezTo>
                      <a:pt x="22365" y="12768"/>
                      <a:pt x="23643" y="13406"/>
                      <a:pt x="24921" y="14045"/>
                    </a:cubicBezTo>
                    <a:cubicBezTo>
                      <a:pt x="26199" y="15322"/>
                      <a:pt x="26838" y="17237"/>
                      <a:pt x="26199" y="19152"/>
                    </a:cubicBezTo>
                    <a:cubicBezTo>
                      <a:pt x="26199" y="23621"/>
                      <a:pt x="24921" y="25536"/>
                      <a:pt x="21087" y="25536"/>
                    </a:cubicBezTo>
                    <a:lnTo>
                      <a:pt x="21087" y="25536"/>
                    </a:lnTo>
                    <a:close/>
                  </a:path>
                </a:pathLst>
              </a:custGeom>
              <a:grpFill/>
              <a:ln w="6390" cap="flat">
                <a:noFill/>
                <a:prstDash val="solid"/>
                <a:miter/>
              </a:ln>
            </p:spPr>
            <p:txBody>
              <a:bodyPr rtlCol="0" anchor="ctr"/>
              <a:lstStyle/>
              <a:p>
                <a:endParaRPr lang="en-US" dirty="0">
                  <a:solidFill>
                    <a:schemeClr val="bg1"/>
                  </a:solidFill>
                </a:endParaRPr>
              </a:p>
            </p:txBody>
          </p:sp>
          <p:sp>
            <p:nvSpPr>
              <p:cNvPr id="177" name="Graphic 1100">
                <a:extLst>
                  <a:ext uri="{FF2B5EF4-FFF2-40B4-BE49-F238E27FC236}">
                    <a16:creationId xmlns:a16="http://schemas.microsoft.com/office/drawing/2014/main" id="{AA89BCB9-5A37-4556-8AA9-491E0470D0A7}"/>
                  </a:ext>
                </a:extLst>
              </p:cNvPr>
              <p:cNvSpPr/>
              <p:nvPr/>
            </p:nvSpPr>
            <p:spPr>
              <a:xfrm>
                <a:off x="4823763" y="1586107"/>
                <a:ext cx="39099" cy="56817"/>
              </a:xfrm>
              <a:custGeom>
                <a:avLst/>
                <a:gdLst>
                  <a:gd name="connsiteX0" fmla="*/ 21087 w 39099"/>
                  <a:gd name="connsiteY0" fmla="*/ 0 h 56817"/>
                  <a:gd name="connsiteX1" fmla="*/ 6390 w 39099"/>
                  <a:gd name="connsiteY1" fmla="*/ 0 h 56817"/>
                  <a:gd name="connsiteX2" fmla="*/ 0 w 39099"/>
                  <a:gd name="connsiteY2" fmla="*/ 6384 h 56817"/>
                  <a:gd name="connsiteX3" fmla="*/ 0 w 39099"/>
                  <a:gd name="connsiteY3" fmla="*/ 50434 h 56817"/>
                  <a:gd name="connsiteX4" fmla="*/ 6390 w 39099"/>
                  <a:gd name="connsiteY4" fmla="*/ 56818 h 56817"/>
                  <a:gd name="connsiteX5" fmla="*/ 12780 w 39099"/>
                  <a:gd name="connsiteY5" fmla="*/ 50434 h 56817"/>
                  <a:gd name="connsiteX6" fmla="*/ 12780 w 39099"/>
                  <a:gd name="connsiteY6" fmla="*/ 38304 h 56817"/>
                  <a:gd name="connsiteX7" fmla="*/ 21087 w 39099"/>
                  <a:gd name="connsiteY7" fmla="*/ 38304 h 56817"/>
                  <a:gd name="connsiteX8" fmla="*/ 33867 w 39099"/>
                  <a:gd name="connsiteY8" fmla="*/ 33197 h 56817"/>
                  <a:gd name="connsiteX9" fmla="*/ 38978 w 39099"/>
                  <a:gd name="connsiteY9" fmla="*/ 19152 h 56817"/>
                  <a:gd name="connsiteX10" fmla="*/ 33227 w 39099"/>
                  <a:gd name="connsiteY10" fmla="*/ 5107 h 56817"/>
                  <a:gd name="connsiteX11" fmla="*/ 21087 w 39099"/>
                  <a:gd name="connsiteY11" fmla="*/ 0 h 56817"/>
                  <a:gd name="connsiteX12" fmla="*/ 21087 w 39099"/>
                  <a:gd name="connsiteY12" fmla="*/ 25536 h 56817"/>
                  <a:gd name="connsiteX13" fmla="*/ 12780 w 39099"/>
                  <a:gd name="connsiteY13" fmla="*/ 25536 h 56817"/>
                  <a:gd name="connsiteX14" fmla="*/ 12780 w 39099"/>
                  <a:gd name="connsiteY14" fmla="*/ 12768 h 56817"/>
                  <a:gd name="connsiteX15" fmla="*/ 21087 w 39099"/>
                  <a:gd name="connsiteY15" fmla="*/ 12768 h 56817"/>
                  <a:gd name="connsiteX16" fmla="*/ 24921 w 39099"/>
                  <a:gd name="connsiteY16" fmla="*/ 14045 h 56817"/>
                  <a:gd name="connsiteX17" fmla="*/ 26199 w 39099"/>
                  <a:gd name="connsiteY17" fmla="*/ 19152 h 56817"/>
                  <a:gd name="connsiteX18" fmla="*/ 21087 w 39099"/>
                  <a:gd name="connsiteY18" fmla="*/ 25536 h 56817"/>
                  <a:gd name="connsiteX19" fmla="*/ 21087 w 39099"/>
                  <a:gd name="connsiteY19" fmla="*/ 25536 h 5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099" h="56817">
                    <a:moveTo>
                      <a:pt x="21087" y="0"/>
                    </a:moveTo>
                    <a:lnTo>
                      <a:pt x="6390" y="0"/>
                    </a:lnTo>
                    <a:cubicBezTo>
                      <a:pt x="2556" y="0"/>
                      <a:pt x="0" y="2554"/>
                      <a:pt x="0" y="6384"/>
                    </a:cubicBezTo>
                    <a:lnTo>
                      <a:pt x="0" y="50434"/>
                    </a:lnTo>
                    <a:cubicBezTo>
                      <a:pt x="0" y="54264"/>
                      <a:pt x="2556" y="56818"/>
                      <a:pt x="6390" y="56818"/>
                    </a:cubicBezTo>
                    <a:cubicBezTo>
                      <a:pt x="10224" y="56818"/>
                      <a:pt x="12780" y="54264"/>
                      <a:pt x="12780" y="50434"/>
                    </a:cubicBezTo>
                    <a:lnTo>
                      <a:pt x="12780" y="38304"/>
                    </a:lnTo>
                    <a:lnTo>
                      <a:pt x="21087" y="38304"/>
                    </a:lnTo>
                    <a:cubicBezTo>
                      <a:pt x="25560" y="38304"/>
                      <a:pt x="30672" y="36389"/>
                      <a:pt x="33867" y="33197"/>
                    </a:cubicBezTo>
                    <a:cubicBezTo>
                      <a:pt x="37700" y="29366"/>
                      <a:pt x="39617" y="24259"/>
                      <a:pt x="38978" y="19152"/>
                    </a:cubicBezTo>
                    <a:cubicBezTo>
                      <a:pt x="38978" y="14045"/>
                      <a:pt x="37062" y="8938"/>
                      <a:pt x="33227" y="5107"/>
                    </a:cubicBezTo>
                    <a:cubicBezTo>
                      <a:pt x="30032" y="1915"/>
                      <a:pt x="25560" y="0"/>
                      <a:pt x="21087" y="0"/>
                    </a:cubicBezTo>
                    <a:close/>
                    <a:moveTo>
                      <a:pt x="21087" y="25536"/>
                    </a:moveTo>
                    <a:lnTo>
                      <a:pt x="12780" y="25536"/>
                    </a:lnTo>
                    <a:lnTo>
                      <a:pt x="12780" y="12768"/>
                    </a:lnTo>
                    <a:lnTo>
                      <a:pt x="21087" y="12768"/>
                    </a:lnTo>
                    <a:cubicBezTo>
                      <a:pt x="22365" y="12768"/>
                      <a:pt x="23642" y="13406"/>
                      <a:pt x="24921" y="14045"/>
                    </a:cubicBezTo>
                    <a:cubicBezTo>
                      <a:pt x="26199" y="15322"/>
                      <a:pt x="26837" y="17237"/>
                      <a:pt x="26199" y="19152"/>
                    </a:cubicBezTo>
                    <a:cubicBezTo>
                      <a:pt x="26199" y="23621"/>
                      <a:pt x="24921" y="25536"/>
                      <a:pt x="21087" y="25536"/>
                    </a:cubicBezTo>
                    <a:lnTo>
                      <a:pt x="21087" y="25536"/>
                    </a:lnTo>
                    <a:close/>
                  </a:path>
                </a:pathLst>
              </a:custGeom>
              <a:grpFill/>
              <a:ln w="6390" cap="flat">
                <a:noFill/>
                <a:prstDash val="solid"/>
                <a:miter/>
              </a:ln>
            </p:spPr>
            <p:txBody>
              <a:bodyPr rtlCol="0" anchor="ctr"/>
              <a:lstStyle/>
              <a:p>
                <a:endParaRPr lang="en-US" dirty="0">
                  <a:solidFill>
                    <a:schemeClr val="bg1"/>
                  </a:solidFill>
                </a:endParaRPr>
              </a:p>
            </p:txBody>
          </p:sp>
        </p:grpSp>
        <p:grpSp>
          <p:nvGrpSpPr>
            <p:cNvPr id="169" name="Graphic 1100">
              <a:extLst>
                <a:ext uri="{FF2B5EF4-FFF2-40B4-BE49-F238E27FC236}">
                  <a16:creationId xmlns:a16="http://schemas.microsoft.com/office/drawing/2014/main" id="{D8622443-32DC-4D7B-8393-C69AACE5ED98}"/>
                </a:ext>
              </a:extLst>
            </p:cNvPr>
            <p:cNvGrpSpPr/>
            <p:nvPr/>
          </p:nvGrpSpPr>
          <p:grpSpPr>
            <a:xfrm>
              <a:off x="5456878" y="2781407"/>
              <a:ext cx="462293" cy="465536"/>
              <a:chOff x="4741333" y="2931212"/>
              <a:chExt cx="204477" cy="218970"/>
            </a:xfrm>
            <a:solidFill>
              <a:schemeClr val="bg2">
                <a:lumMod val="50000"/>
              </a:schemeClr>
            </a:solidFill>
          </p:grpSpPr>
          <p:sp>
            <p:nvSpPr>
              <p:cNvPr id="170" name="Graphic 1100">
                <a:extLst>
                  <a:ext uri="{FF2B5EF4-FFF2-40B4-BE49-F238E27FC236}">
                    <a16:creationId xmlns:a16="http://schemas.microsoft.com/office/drawing/2014/main" id="{264D4F77-8FE3-4C2A-AC7E-6F9C7FB74566}"/>
                  </a:ext>
                </a:extLst>
              </p:cNvPr>
              <p:cNvSpPr/>
              <p:nvPr/>
            </p:nvSpPr>
            <p:spPr>
              <a:xfrm>
                <a:off x="4741333" y="2931212"/>
                <a:ext cx="204477" cy="218970"/>
              </a:xfrm>
              <a:custGeom>
                <a:avLst/>
                <a:gdLst>
                  <a:gd name="connsiteX0" fmla="*/ 197449 w 204477"/>
                  <a:gd name="connsiteY0" fmla="*/ 80438 h 218970"/>
                  <a:gd name="connsiteX1" fmla="*/ 181474 w 204477"/>
                  <a:gd name="connsiteY1" fmla="*/ 80438 h 218970"/>
                  <a:gd name="connsiteX2" fmla="*/ 181474 w 204477"/>
                  <a:gd name="connsiteY2" fmla="*/ 58094 h 218970"/>
                  <a:gd name="connsiteX3" fmla="*/ 180835 w 204477"/>
                  <a:gd name="connsiteY3" fmla="*/ 55541 h 218970"/>
                  <a:gd name="connsiteX4" fmla="*/ 179557 w 204477"/>
                  <a:gd name="connsiteY4" fmla="*/ 53625 h 218970"/>
                  <a:gd name="connsiteX5" fmla="*/ 127799 w 204477"/>
                  <a:gd name="connsiteY5" fmla="*/ 1915 h 218970"/>
                  <a:gd name="connsiteX6" fmla="*/ 125882 w 204477"/>
                  <a:gd name="connsiteY6" fmla="*/ 638 h 218970"/>
                  <a:gd name="connsiteX7" fmla="*/ 123326 w 204477"/>
                  <a:gd name="connsiteY7" fmla="*/ 0 h 218970"/>
                  <a:gd name="connsiteX8" fmla="*/ 27477 w 204477"/>
                  <a:gd name="connsiteY8" fmla="*/ 0 h 218970"/>
                  <a:gd name="connsiteX9" fmla="*/ 21087 w 204477"/>
                  <a:gd name="connsiteY9" fmla="*/ 6384 h 218970"/>
                  <a:gd name="connsiteX10" fmla="*/ 21087 w 204477"/>
                  <a:gd name="connsiteY10" fmla="*/ 81077 h 218970"/>
                  <a:gd name="connsiteX11" fmla="*/ 6390 w 204477"/>
                  <a:gd name="connsiteY11" fmla="*/ 81077 h 218970"/>
                  <a:gd name="connsiteX12" fmla="*/ 0 w 204477"/>
                  <a:gd name="connsiteY12" fmla="*/ 87461 h 218970"/>
                  <a:gd name="connsiteX13" fmla="*/ 0 w 204477"/>
                  <a:gd name="connsiteY13" fmla="*/ 183220 h 218970"/>
                  <a:gd name="connsiteX14" fmla="*/ 6390 w 204477"/>
                  <a:gd name="connsiteY14" fmla="*/ 189604 h 218970"/>
                  <a:gd name="connsiteX15" fmla="*/ 22365 w 204477"/>
                  <a:gd name="connsiteY15" fmla="*/ 189604 h 218970"/>
                  <a:gd name="connsiteX16" fmla="*/ 22365 w 204477"/>
                  <a:gd name="connsiteY16" fmla="*/ 212587 h 218970"/>
                  <a:gd name="connsiteX17" fmla="*/ 28755 w 204477"/>
                  <a:gd name="connsiteY17" fmla="*/ 218971 h 218970"/>
                  <a:gd name="connsiteX18" fmla="*/ 175723 w 204477"/>
                  <a:gd name="connsiteY18" fmla="*/ 218971 h 218970"/>
                  <a:gd name="connsiteX19" fmla="*/ 182113 w 204477"/>
                  <a:gd name="connsiteY19" fmla="*/ 212587 h 218970"/>
                  <a:gd name="connsiteX20" fmla="*/ 182113 w 204477"/>
                  <a:gd name="connsiteY20" fmla="*/ 189604 h 218970"/>
                  <a:gd name="connsiteX21" fmla="*/ 198088 w 204477"/>
                  <a:gd name="connsiteY21" fmla="*/ 189604 h 218970"/>
                  <a:gd name="connsiteX22" fmla="*/ 204478 w 204477"/>
                  <a:gd name="connsiteY22" fmla="*/ 183220 h 218970"/>
                  <a:gd name="connsiteX23" fmla="*/ 204478 w 204477"/>
                  <a:gd name="connsiteY23" fmla="*/ 87461 h 218970"/>
                  <a:gd name="connsiteX24" fmla="*/ 197449 w 204477"/>
                  <a:gd name="connsiteY24" fmla="*/ 80438 h 218970"/>
                  <a:gd name="connsiteX25" fmla="*/ 197449 w 204477"/>
                  <a:gd name="connsiteY25" fmla="*/ 80438 h 218970"/>
                  <a:gd name="connsiteX26" fmla="*/ 130355 w 204477"/>
                  <a:gd name="connsiteY26" fmla="*/ 21706 h 218970"/>
                  <a:gd name="connsiteX27" fmla="*/ 160387 w 204477"/>
                  <a:gd name="connsiteY27" fmla="*/ 51072 h 218970"/>
                  <a:gd name="connsiteX28" fmla="*/ 130355 w 204477"/>
                  <a:gd name="connsiteY28" fmla="*/ 51072 h 218970"/>
                  <a:gd name="connsiteX29" fmla="*/ 130355 w 204477"/>
                  <a:gd name="connsiteY29" fmla="*/ 21706 h 218970"/>
                  <a:gd name="connsiteX30" fmla="*/ 34506 w 204477"/>
                  <a:gd name="connsiteY30" fmla="*/ 12768 h 218970"/>
                  <a:gd name="connsiteX31" fmla="*/ 117575 w 204477"/>
                  <a:gd name="connsiteY31" fmla="*/ 12768 h 218970"/>
                  <a:gd name="connsiteX32" fmla="*/ 117575 w 204477"/>
                  <a:gd name="connsiteY32" fmla="*/ 58094 h 218970"/>
                  <a:gd name="connsiteX33" fmla="*/ 123965 w 204477"/>
                  <a:gd name="connsiteY33" fmla="*/ 64478 h 218970"/>
                  <a:gd name="connsiteX34" fmla="*/ 169333 w 204477"/>
                  <a:gd name="connsiteY34" fmla="*/ 64478 h 218970"/>
                  <a:gd name="connsiteX35" fmla="*/ 169333 w 204477"/>
                  <a:gd name="connsiteY35" fmla="*/ 81077 h 218970"/>
                  <a:gd name="connsiteX36" fmla="*/ 35145 w 204477"/>
                  <a:gd name="connsiteY36" fmla="*/ 81077 h 218970"/>
                  <a:gd name="connsiteX37" fmla="*/ 34506 w 204477"/>
                  <a:gd name="connsiteY37" fmla="*/ 12768 h 218970"/>
                  <a:gd name="connsiteX38" fmla="*/ 168695 w 204477"/>
                  <a:gd name="connsiteY38" fmla="*/ 205564 h 218970"/>
                  <a:gd name="connsiteX39" fmla="*/ 34506 w 204477"/>
                  <a:gd name="connsiteY39" fmla="*/ 205564 h 218970"/>
                  <a:gd name="connsiteX40" fmla="*/ 34506 w 204477"/>
                  <a:gd name="connsiteY40" fmla="*/ 188966 h 218970"/>
                  <a:gd name="connsiteX41" fmla="*/ 168695 w 204477"/>
                  <a:gd name="connsiteY41" fmla="*/ 188966 h 218970"/>
                  <a:gd name="connsiteX42" fmla="*/ 168695 w 204477"/>
                  <a:gd name="connsiteY42" fmla="*/ 205564 h 218970"/>
                  <a:gd name="connsiteX43" fmla="*/ 191059 w 204477"/>
                  <a:gd name="connsiteY43" fmla="*/ 176198 h 218970"/>
                  <a:gd name="connsiteX44" fmla="*/ 12780 w 204477"/>
                  <a:gd name="connsiteY44" fmla="*/ 176198 h 218970"/>
                  <a:gd name="connsiteX45" fmla="*/ 12780 w 204477"/>
                  <a:gd name="connsiteY45" fmla="*/ 93206 h 218970"/>
                  <a:gd name="connsiteX46" fmla="*/ 191059 w 204477"/>
                  <a:gd name="connsiteY46" fmla="*/ 93206 h 218970"/>
                  <a:gd name="connsiteX47" fmla="*/ 191059 w 204477"/>
                  <a:gd name="connsiteY47" fmla="*/ 176198 h 21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4477" h="218970">
                    <a:moveTo>
                      <a:pt x="197449" y="80438"/>
                    </a:moveTo>
                    <a:lnTo>
                      <a:pt x="181474" y="80438"/>
                    </a:lnTo>
                    <a:lnTo>
                      <a:pt x="181474" y="58094"/>
                    </a:lnTo>
                    <a:cubicBezTo>
                      <a:pt x="181474" y="57456"/>
                      <a:pt x="181474" y="56179"/>
                      <a:pt x="180835" y="55541"/>
                    </a:cubicBezTo>
                    <a:cubicBezTo>
                      <a:pt x="180835" y="54902"/>
                      <a:pt x="180196" y="54264"/>
                      <a:pt x="179557" y="53625"/>
                    </a:cubicBezTo>
                    <a:lnTo>
                      <a:pt x="127799" y="1915"/>
                    </a:lnTo>
                    <a:cubicBezTo>
                      <a:pt x="127160" y="1277"/>
                      <a:pt x="126521" y="638"/>
                      <a:pt x="125882" y="638"/>
                    </a:cubicBezTo>
                    <a:cubicBezTo>
                      <a:pt x="125243" y="0"/>
                      <a:pt x="124604" y="0"/>
                      <a:pt x="123326" y="0"/>
                    </a:cubicBezTo>
                    <a:lnTo>
                      <a:pt x="27477" y="0"/>
                    </a:lnTo>
                    <a:cubicBezTo>
                      <a:pt x="23643" y="0"/>
                      <a:pt x="21087" y="2554"/>
                      <a:pt x="21087" y="6384"/>
                    </a:cubicBezTo>
                    <a:lnTo>
                      <a:pt x="21087" y="81077"/>
                    </a:lnTo>
                    <a:lnTo>
                      <a:pt x="6390" y="81077"/>
                    </a:lnTo>
                    <a:cubicBezTo>
                      <a:pt x="2556" y="81077"/>
                      <a:pt x="0" y="83630"/>
                      <a:pt x="0" y="87461"/>
                    </a:cubicBezTo>
                    <a:lnTo>
                      <a:pt x="0" y="183220"/>
                    </a:lnTo>
                    <a:cubicBezTo>
                      <a:pt x="0" y="187051"/>
                      <a:pt x="2556" y="189604"/>
                      <a:pt x="6390" y="189604"/>
                    </a:cubicBezTo>
                    <a:lnTo>
                      <a:pt x="22365" y="189604"/>
                    </a:lnTo>
                    <a:lnTo>
                      <a:pt x="22365" y="212587"/>
                    </a:lnTo>
                    <a:cubicBezTo>
                      <a:pt x="22365" y="216417"/>
                      <a:pt x="24921" y="218971"/>
                      <a:pt x="28755" y="218971"/>
                    </a:cubicBezTo>
                    <a:lnTo>
                      <a:pt x="175723" y="218971"/>
                    </a:lnTo>
                    <a:cubicBezTo>
                      <a:pt x="179557" y="218971"/>
                      <a:pt x="182113" y="216417"/>
                      <a:pt x="182113" y="212587"/>
                    </a:cubicBezTo>
                    <a:lnTo>
                      <a:pt x="182113" y="189604"/>
                    </a:lnTo>
                    <a:lnTo>
                      <a:pt x="198088" y="189604"/>
                    </a:lnTo>
                    <a:cubicBezTo>
                      <a:pt x="201922" y="189604"/>
                      <a:pt x="204478" y="187051"/>
                      <a:pt x="204478" y="183220"/>
                    </a:cubicBezTo>
                    <a:lnTo>
                      <a:pt x="204478" y="87461"/>
                    </a:lnTo>
                    <a:cubicBezTo>
                      <a:pt x="203839" y="83630"/>
                      <a:pt x="201283" y="81077"/>
                      <a:pt x="197449" y="80438"/>
                    </a:cubicBezTo>
                    <a:cubicBezTo>
                      <a:pt x="197449" y="81077"/>
                      <a:pt x="197449" y="80438"/>
                      <a:pt x="197449" y="80438"/>
                    </a:cubicBezTo>
                    <a:close/>
                    <a:moveTo>
                      <a:pt x="130355" y="21706"/>
                    </a:moveTo>
                    <a:lnTo>
                      <a:pt x="160387" y="51072"/>
                    </a:lnTo>
                    <a:lnTo>
                      <a:pt x="130355" y="51072"/>
                    </a:lnTo>
                    <a:lnTo>
                      <a:pt x="130355" y="21706"/>
                    </a:lnTo>
                    <a:close/>
                    <a:moveTo>
                      <a:pt x="34506" y="12768"/>
                    </a:moveTo>
                    <a:lnTo>
                      <a:pt x="117575" y="12768"/>
                    </a:lnTo>
                    <a:lnTo>
                      <a:pt x="117575" y="58094"/>
                    </a:lnTo>
                    <a:cubicBezTo>
                      <a:pt x="117575" y="61925"/>
                      <a:pt x="120131" y="64478"/>
                      <a:pt x="123965" y="64478"/>
                    </a:cubicBezTo>
                    <a:lnTo>
                      <a:pt x="169333" y="64478"/>
                    </a:lnTo>
                    <a:lnTo>
                      <a:pt x="169333" y="81077"/>
                    </a:lnTo>
                    <a:lnTo>
                      <a:pt x="35145" y="81077"/>
                    </a:lnTo>
                    <a:lnTo>
                      <a:pt x="34506" y="12768"/>
                    </a:lnTo>
                    <a:close/>
                    <a:moveTo>
                      <a:pt x="168695" y="205564"/>
                    </a:moveTo>
                    <a:lnTo>
                      <a:pt x="34506" y="205564"/>
                    </a:lnTo>
                    <a:lnTo>
                      <a:pt x="34506" y="188966"/>
                    </a:lnTo>
                    <a:lnTo>
                      <a:pt x="168695" y="188966"/>
                    </a:lnTo>
                    <a:lnTo>
                      <a:pt x="168695" y="205564"/>
                    </a:lnTo>
                    <a:close/>
                    <a:moveTo>
                      <a:pt x="191059" y="176198"/>
                    </a:moveTo>
                    <a:lnTo>
                      <a:pt x="12780" y="176198"/>
                    </a:lnTo>
                    <a:lnTo>
                      <a:pt x="12780" y="93206"/>
                    </a:lnTo>
                    <a:lnTo>
                      <a:pt x="191059" y="93206"/>
                    </a:lnTo>
                    <a:lnTo>
                      <a:pt x="191059" y="176198"/>
                    </a:lnTo>
                    <a:close/>
                  </a:path>
                </a:pathLst>
              </a:custGeom>
              <a:grpFill/>
              <a:ln w="6390" cap="flat">
                <a:noFill/>
                <a:prstDash val="solid"/>
                <a:miter/>
              </a:ln>
            </p:spPr>
            <p:txBody>
              <a:bodyPr rtlCol="0" anchor="ctr"/>
              <a:lstStyle/>
              <a:p>
                <a:endParaRPr lang="en-US" dirty="0">
                  <a:solidFill>
                    <a:schemeClr val="bg1"/>
                  </a:solidFill>
                </a:endParaRPr>
              </a:p>
            </p:txBody>
          </p:sp>
          <p:sp>
            <p:nvSpPr>
              <p:cNvPr id="171" name="Graphic 1100">
                <a:extLst>
                  <a:ext uri="{FF2B5EF4-FFF2-40B4-BE49-F238E27FC236}">
                    <a16:creationId xmlns:a16="http://schemas.microsoft.com/office/drawing/2014/main" id="{59567955-A359-4DB2-84B3-A25AEFEC3240}"/>
                  </a:ext>
                </a:extLst>
              </p:cNvPr>
              <p:cNvSpPr/>
              <p:nvPr/>
            </p:nvSpPr>
            <p:spPr>
              <a:xfrm>
                <a:off x="4768809" y="3039050"/>
                <a:ext cx="44810" cy="55672"/>
              </a:xfrm>
              <a:custGeom>
                <a:avLst/>
                <a:gdLst>
                  <a:gd name="connsiteX0" fmla="*/ 5751 w 44810"/>
                  <a:gd name="connsiteY0" fmla="*/ 51 h 55672"/>
                  <a:gd name="connsiteX1" fmla="*/ 0 w 44810"/>
                  <a:gd name="connsiteY1" fmla="*/ 6435 h 55672"/>
                  <a:gd name="connsiteX2" fmla="*/ 0 w 44810"/>
                  <a:gd name="connsiteY2" fmla="*/ 49208 h 55672"/>
                  <a:gd name="connsiteX3" fmla="*/ 5751 w 44810"/>
                  <a:gd name="connsiteY3" fmla="*/ 55592 h 55672"/>
                  <a:gd name="connsiteX4" fmla="*/ 10224 w 44810"/>
                  <a:gd name="connsiteY4" fmla="*/ 55592 h 55672"/>
                  <a:gd name="connsiteX5" fmla="*/ 36423 w 44810"/>
                  <a:gd name="connsiteY5" fmla="*/ 47293 h 55672"/>
                  <a:gd name="connsiteX6" fmla="*/ 44730 w 44810"/>
                  <a:gd name="connsiteY6" fmla="*/ 26864 h 55672"/>
                  <a:gd name="connsiteX7" fmla="*/ 37062 w 44810"/>
                  <a:gd name="connsiteY7" fmla="*/ 8989 h 55672"/>
                  <a:gd name="connsiteX8" fmla="*/ 5751 w 44810"/>
                  <a:gd name="connsiteY8" fmla="*/ 51 h 55672"/>
                  <a:gd name="connsiteX9" fmla="*/ 27477 w 44810"/>
                  <a:gd name="connsiteY9" fmla="*/ 37717 h 55672"/>
                  <a:gd name="connsiteX10" fmla="*/ 12141 w 44810"/>
                  <a:gd name="connsiteY10" fmla="*/ 42824 h 55672"/>
                  <a:gd name="connsiteX11" fmla="*/ 12141 w 44810"/>
                  <a:gd name="connsiteY11" fmla="*/ 12819 h 55672"/>
                  <a:gd name="connsiteX12" fmla="*/ 28116 w 44810"/>
                  <a:gd name="connsiteY12" fmla="*/ 17926 h 55672"/>
                  <a:gd name="connsiteX13" fmla="*/ 31311 w 44810"/>
                  <a:gd name="connsiteY13" fmla="*/ 26225 h 55672"/>
                  <a:gd name="connsiteX14" fmla="*/ 27477 w 44810"/>
                  <a:gd name="connsiteY14" fmla="*/ 37717 h 5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10" h="55672">
                    <a:moveTo>
                      <a:pt x="5751" y="51"/>
                    </a:moveTo>
                    <a:cubicBezTo>
                      <a:pt x="2556" y="51"/>
                      <a:pt x="0" y="3243"/>
                      <a:pt x="0" y="6435"/>
                    </a:cubicBezTo>
                    <a:lnTo>
                      <a:pt x="0" y="49208"/>
                    </a:lnTo>
                    <a:cubicBezTo>
                      <a:pt x="0" y="52400"/>
                      <a:pt x="2556" y="54953"/>
                      <a:pt x="5751" y="55592"/>
                    </a:cubicBezTo>
                    <a:cubicBezTo>
                      <a:pt x="5751" y="55592"/>
                      <a:pt x="7668" y="55592"/>
                      <a:pt x="10224" y="55592"/>
                    </a:cubicBezTo>
                    <a:cubicBezTo>
                      <a:pt x="19809" y="56230"/>
                      <a:pt x="28755" y="53038"/>
                      <a:pt x="36423" y="47293"/>
                    </a:cubicBezTo>
                    <a:cubicBezTo>
                      <a:pt x="42174" y="42185"/>
                      <a:pt x="45369" y="34525"/>
                      <a:pt x="44730" y="26864"/>
                    </a:cubicBezTo>
                    <a:cubicBezTo>
                      <a:pt x="44730" y="19841"/>
                      <a:pt x="42174" y="13457"/>
                      <a:pt x="37062" y="8989"/>
                    </a:cubicBezTo>
                    <a:cubicBezTo>
                      <a:pt x="26199" y="-1226"/>
                      <a:pt x="7668" y="51"/>
                      <a:pt x="5751" y="51"/>
                    </a:cubicBezTo>
                    <a:close/>
                    <a:moveTo>
                      <a:pt x="27477" y="37717"/>
                    </a:moveTo>
                    <a:cubicBezTo>
                      <a:pt x="23004" y="40909"/>
                      <a:pt x="17892" y="42824"/>
                      <a:pt x="12141" y="42824"/>
                    </a:cubicBezTo>
                    <a:lnTo>
                      <a:pt x="12141" y="12819"/>
                    </a:lnTo>
                    <a:cubicBezTo>
                      <a:pt x="17892" y="12819"/>
                      <a:pt x="23643" y="14734"/>
                      <a:pt x="28116" y="17926"/>
                    </a:cubicBezTo>
                    <a:cubicBezTo>
                      <a:pt x="30672" y="19841"/>
                      <a:pt x="31950" y="23033"/>
                      <a:pt x="31311" y="26225"/>
                    </a:cubicBezTo>
                    <a:cubicBezTo>
                      <a:pt x="31950" y="31333"/>
                      <a:pt x="30672" y="35163"/>
                      <a:pt x="27477" y="37717"/>
                    </a:cubicBezTo>
                    <a:close/>
                  </a:path>
                </a:pathLst>
              </a:custGeom>
              <a:grpFill/>
              <a:ln w="6390" cap="flat">
                <a:noFill/>
                <a:prstDash val="solid"/>
                <a:miter/>
              </a:ln>
            </p:spPr>
            <p:txBody>
              <a:bodyPr rtlCol="0" anchor="ctr"/>
              <a:lstStyle/>
              <a:p>
                <a:endParaRPr lang="en-US" dirty="0">
                  <a:solidFill>
                    <a:schemeClr val="bg1"/>
                  </a:solidFill>
                </a:endParaRPr>
              </a:p>
            </p:txBody>
          </p:sp>
          <p:sp>
            <p:nvSpPr>
              <p:cNvPr id="172" name="Graphic 1100">
                <a:extLst>
                  <a:ext uri="{FF2B5EF4-FFF2-40B4-BE49-F238E27FC236}">
                    <a16:creationId xmlns:a16="http://schemas.microsoft.com/office/drawing/2014/main" id="{D8909C91-E715-4739-B722-A3B38FDFD93F}"/>
                  </a:ext>
                </a:extLst>
              </p:cNvPr>
              <p:cNvSpPr/>
              <p:nvPr/>
            </p:nvSpPr>
            <p:spPr>
              <a:xfrm>
                <a:off x="4876765" y="3037083"/>
                <a:ext cx="40780" cy="56990"/>
              </a:xfrm>
              <a:custGeom>
                <a:avLst/>
                <a:gdLst>
                  <a:gd name="connsiteX0" fmla="*/ 37096 w 40780"/>
                  <a:gd name="connsiteY0" fmla="*/ 2657 h 56990"/>
                  <a:gd name="connsiteX1" fmla="*/ 7702 w 40780"/>
                  <a:gd name="connsiteY1" fmla="*/ 7764 h 56990"/>
                  <a:gd name="connsiteX2" fmla="*/ 5785 w 40780"/>
                  <a:gd name="connsiteY2" fmla="*/ 47983 h 56990"/>
                  <a:gd name="connsiteX3" fmla="*/ 25594 w 40780"/>
                  <a:gd name="connsiteY3" fmla="*/ 56921 h 56990"/>
                  <a:gd name="connsiteX4" fmla="*/ 34540 w 40780"/>
                  <a:gd name="connsiteY4" fmla="*/ 55644 h 56990"/>
                  <a:gd name="connsiteX5" fmla="*/ 39652 w 40780"/>
                  <a:gd name="connsiteY5" fmla="*/ 47983 h 56990"/>
                  <a:gd name="connsiteX6" fmla="*/ 31984 w 40780"/>
                  <a:gd name="connsiteY6" fmla="*/ 42876 h 56990"/>
                  <a:gd name="connsiteX7" fmla="*/ 16009 w 40780"/>
                  <a:gd name="connsiteY7" fmla="*/ 39684 h 56990"/>
                  <a:gd name="connsiteX8" fmla="*/ 17287 w 40780"/>
                  <a:gd name="connsiteY8" fmla="*/ 16063 h 56990"/>
                  <a:gd name="connsiteX9" fmla="*/ 31984 w 40780"/>
                  <a:gd name="connsiteY9" fmla="*/ 13510 h 56990"/>
                  <a:gd name="connsiteX10" fmla="*/ 40291 w 40780"/>
                  <a:gd name="connsiteY10" fmla="*/ 10318 h 56990"/>
                  <a:gd name="connsiteX11" fmla="*/ 37096 w 40780"/>
                  <a:gd name="connsiteY11" fmla="*/ 2657 h 56990"/>
                  <a:gd name="connsiteX12" fmla="*/ 37096 w 40780"/>
                  <a:gd name="connsiteY12" fmla="*/ 2657 h 56990"/>
                  <a:gd name="connsiteX13" fmla="*/ 37096 w 40780"/>
                  <a:gd name="connsiteY13" fmla="*/ 2657 h 5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780" h="56990">
                    <a:moveTo>
                      <a:pt x="37096" y="2657"/>
                    </a:moveTo>
                    <a:cubicBezTo>
                      <a:pt x="27511" y="-2450"/>
                      <a:pt x="15370" y="103"/>
                      <a:pt x="7702" y="7764"/>
                    </a:cubicBezTo>
                    <a:cubicBezTo>
                      <a:pt x="-1883" y="19255"/>
                      <a:pt x="-2522" y="35854"/>
                      <a:pt x="5785" y="47983"/>
                    </a:cubicBezTo>
                    <a:cubicBezTo>
                      <a:pt x="10258" y="53729"/>
                      <a:pt x="17926" y="57559"/>
                      <a:pt x="25594" y="56921"/>
                    </a:cubicBezTo>
                    <a:cubicBezTo>
                      <a:pt x="28789" y="56921"/>
                      <a:pt x="31345" y="56282"/>
                      <a:pt x="34540" y="55644"/>
                    </a:cubicBezTo>
                    <a:cubicBezTo>
                      <a:pt x="38374" y="55006"/>
                      <a:pt x="40291" y="51175"/>
                      <a:pt x="39652" y="47983"/>
                    </a:cubicBezTo>
                    <a:cubicBezTo>
                      <a:pt x="39013" y="44153"/>
                      <a:pt x="35179" y="42238"/>
                      <a:pt x="31984" y="42876"/>
                    </a:cubicBezTo>
                    <a:cubicBezTo>
                      <a:pt x="23038" y="44791"/>
                      <a:pt x="19204" y="42876"/>
                      <a:pt x="16009" y="39684"/>
                    </a:cubicBezTo>
                    <a:cubicBezTo>
                      <a:pt x="10897" y="32662"/>
                      <a:pt x="11536" y="23086"/>
                      <a:pt x="17287" y="16063"/>
                    </a:cubicBezTo>
                    <a:cubicBezTo>
                      <a:pt x="21121" y="12233"/>
                      <a:pt x="26872" y="11595"/>
                      <a:pt x="31984" y="13510"/>
                    </a:cubicBezTo>
                    <a:cubicBezTo>
                      <a:pt x="35179" y="14787"/>
                      <a:pt x="39013" y="13510"/>
                      <a:pt x="40291" y="10318"/>
                    </a:cubicBezTo>
                    <a:cubicBezTo>
                      <a:pt x="41569" y="7764"/>
                      <a:pt x="40291" y="3934"/>
                      <a:pt x="37096" y="2657"/>
                    </a:cubicBezTo>
                    <a:cubicBezTo>
                      <a:pt x="37096" y="2657"/>
                      <a:pt x="37096" y="2657"/>
                      <a:pt x="37096" y="2657"/>
                    </a:cubicBezTo>
                    <a:lnTo>
                      <a:pt x="37096" y="2657"/>
                    </a:lnTo>
                    <a:close/>
                  </a:path>
                </a:pathLst>
              </a:custGeom>
              <a:grpFill/>
              <a:ln w="6390" cap="flat">
                <a:noFill/>
                <a:prstDash val="solid"/>
                <a:miter/>
              </a:ln>
            </p:spPr>
            <p:txBody>
              <a:bodyPr rtlCol="0" anchor="ctr"/>
              <a:lstStyle/>
              <a:p>
                <a:endParaRPr lang="en-US" dirty="0">
                  <a:solidFill>
                    <a:schemeClr val="bg1"/>
                  </a:solidFill>
                </a:endParaRPr>
              </a:p>
            </p:txBody>
          </p:sp>
          <p:sp>
            <p:nvSpPr>
              <p:cNvPr id="173" name="Graphic 1100">
                <a:extLst>
                  <a:ext uri="{FF2B5EF4-FFF2-40B4-BE49-F238E27FC236}">
                    <a16:creationId xmlns:a16="http://schemas.microsoft.com/office/drawing/2014/main" id="{DF009789-03DB-422F-8CE1-CE65C260CFEA}"/>
                  </a:ext>
                </a:extLst>
              </p:cNvPr>
              <p:cNvSpPr/>
              <p:nvPr/>
            </p:nvSpPr>
            <p:spPr>
              <a:xfrm>
                <a:off x="4815364" y="3037094"/>
                <a:ext cx="56348" cy="56363"/>
              </a:xfrm>
              <a:custGeom>
                <a:avLst/>
                <a:gdLst>
                  <a:gd name="connsiteX0" fmla="*/ 30125 w 56348"/>
                  <a:gd name="connsiteY0" fmla="*/ 92 h 56363"/>
                  <a:gd name="connsiteX1" fmla="*/ 92 w 56348"/>
                  <a:gd name="connsiteY1" fmla="*/ 26267 h 56363"/>
                  <a:gd name="connsiteX2" fmla="*/ 26291 w 56348"/>
                  <a:gd name="connsiteY2" fmla="*/ 56271 h 56363"/>
                  <a:gd name="connsiteX3" fmla="*/ 56324 w 56348"/>
                  <a:gd name="connsiteY3" fmla="*/ 30097 h 56363"/>
                  <a:gd name="connsiteX4" fmla="*/ 56324 w 56348"/>
                  <a:gd name="connsiteY4" fmla="*/ 28182 h 56363"/>
                  <a:gd name="connsiteX5" fmla="*/ 30125 w 56348"/>
                  <a:gd name="connsiteY5" fmla="*/ 92 h 56363"/>
                  <a:gd name="connsiteX6" fmla="*/ 30125 w 56348"/>
                  <a:gd name="connsiteY6" fmla="*/ 43503 h 56363"/>
                  <a:gd name="connsiteX7" fmla="*/ 12872 w 56348"/>
                  <a:gd name="connsiteY7" fmla="*/ 30097 h 56363"/>
                  <a:gd name="connsiteX8" fmla="*/ 26291 w 56348"/>
                  <a:gd name="connsiteY8" fmla="*/ 12860 h 56363"/>
                  <a:gd name="connsiteX9" fmla="*/ 43544 w 56348"/>
                  <a:gd name="connsiteY9" fmla="*/ 26267 h 56363"/>
                  <a:gd name="connsiteX10" fmla="*/ 43544 w 56348"/>
                  <a:gd name="connsiteY10" fmla="*/ 28182 h 56363"/>
                  <a:gd name="connsiteX11" fmla="*/ 30125 w 56348"/>
                  <a:gd name="connsiteY11" fmla="*/ 43503 h 56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348" h="56363">
                    <a:moveTo>
                      <a:pt x="30125" y="92"/>
                    </a:moveTo>
                    <a:cubicBezTo>
                      <a:pt x="14790" y="-1185"/>
                      <a:pt x="1370" y="10945"/>
                      <a:pt x="92" y="26267"/>
                    </a:cubicBezTo>
                    <a:cubicBezTo>
                      <a:pt x="-1185" y="41588"/>
                      <a:pt x="10955" y="54995"/>
                      <a:pt x="26291" y="56271"/>
                    </a:cubicBezTo>
                    <a:cubicBezTo>
                      <a:pt x="41627" y="57548"/>
                      <a:pt x="55046" y="45419"/>
                      <a:pt x="56324" y="30097"/>
                    </a:cubicBezTo>
                    <a:cubicBezTo>
                      <a:pt x="56324" y="29459"/>
                      <a:pt x="56324" y="28820"/>
                      <a:pt x="56324" y="28182"/>
                    </a:cubicBezTo>
                    <a:cubicBezTo>
                      <a:pt x="56963" y="13499"/>
                      <a:pt x="44822" y="731"/>
                      <a:pt x="30125" y="92"/>
                    </a:cubicBezTo>
                    <a:close/>
                    <a:moveTo>
                      <a:pt x="30125" y="43503"/>
                    </a:moveTo>
                    <a:cubicBezTo>
                      <a:pt x="21818" y="44780"/>
                      <a:pt x="14150" y="38396"/>
                      <a:pt x="12872" y="30097"/>
                    </a:cubicBezTo>
                    <a:cubicBezTo>
                      <a:pt x="11595" y="21798"/>
                      <a:pt x="17985" y="14137"/>
                      <a:pt x="26291" y="12860"/>
                    </a:cubicBezTo>
                    <a:cubicBezTo>
                      <a:pt x="34598" y="11583"/>
                      <a:pt x="42266" y="17967"/>
                      <a:pt x="43544" y="26267"/>
                    </a:cubicBezTo>
                    <a:cubicBezTo>
                      <a:pt x="43544" y="26905"/>
                      <a:pt x="43544" y="27543"/>
                      <a:pt x="43544" y="28182"/>
                    </a:cubicBezTo>
                    <a:cubicBezTo>
                      <a:pt x="44183" y="35843"/>
                      <a:pt x="37793" y="42865"/>
                      <a:pt x="30125" y="43503"/>
                    </a:cubicBezTo>
                    <a:close/>
                  </a:path>
                </a:pathLst>
              </a:custGeom>
              <a:grpFill/>
              <a:ln w="6390" cap="flat">
                <a:noFill/>
                <a:prstDash val="solid"/>
                <a:miter/>
              </a:ln>
            </p:spPr>
            <p:txBody>
              <a:bodyPr rtlCol="0" anchor="ctr"/>
              <a:lstStyle/>
              <a:p>
                <a:endParaRPr lang="en-US" dirty="0">
                  <a:solidFill>
                    <a:schemeClr val="bg1"/>
                  </a:solidFill>
                </a:endParaRPr>
              </a:p>
            </p:txBody>
          </p:sp>
        </p:grpSp>
      </p:grpSp>
      <p:sp>
        <p:nvSpPr>
          <p:cNvPr id="189" name="TextBox 188">
            <a:extLst>
              <a:ext uri="{FF2B5EF4-FFF2-40B4-BE49-F238E27FC236}">
                <a16:creationId xmlns:a16="http://schemas.microsoft.com/office/drawing/2014/main" id="{D5108447-73E2-4134-99D6-F3AE290E1F75}"/>
              </a:ext>
            </a:extLst>
          </p:cNvPr>
          <p:cNvSpPr txBox="1"/>
          <p:nvPr/>
        </p:nvSpPr>
        <p:spPr>
          <a:xfrm>
            <a:off x="761757" y="5815513"/>
            <a:ext cx="2493541" cy="369332"/>
          </a:xfrm>
          <a:prstGeom prst="rect">
            <a:avLst/>
          </a:prstGeom>
          <a:noFill/>
        </p:spPr>
        <p:txBody>
          <a:bodyPr wrap="square" lIns="0" tIns="0" rIns="0" bIns="0" rtlCol="0">
            <a:spAutoFit/>
          </a:bodyPr>
          <a:lstStyle/>
          <a:p>
            <a:pPr algn="ctr">
              <a:spcBef>
                <a:spcPts val="0"/>
              </a:spcBef>
              <a:spcAft>
                <a:spcPts val="1333"/>
              </a:spcAft>
              <a:buSzPct val="100000"/>
            </a:pPr>
            <a:r>
              <a:rPr lang="en-NZ" sz="1200" dirty="0">
                <a:solidFill>
                  <a:schemeClr val="bg1"/>
                </a:solidFill>
              </a:rPr>
              <a:t>Wording for similar clauses can vary considerably from contract to contract</a:t>
            </a:r>
          </a:p>
        </p:txBody>
      </p:sp>
      <p:grpSp>
        <p:nvGrpSpPr>
          <p:cNvPr id="190" name="Group 189">
            <a:extLst>
              <a:ext uri="{FF2B5EF4-FFF2-40B4-BE49-F238E27FC236}">
                <a16:creationId xmlns:a16="http://schemas.microsoft.com/office/drawing/2014/main" id="{9C294329-6369-45B3-ACD7-6B9D36DEE5E5}"/>
              </a:ext>
            </a:extLst>
          </p:cNvPr>
          <p:cNvGrpSpPr/>
          <p:nvPr/>
        </p:nvGrpSpPr>
        <p:grpSpPr>
          <a:xfrm>
            <a:off x="1259207" y="5023299"/>
            <a:ext cx="1468470" cy="650324"/>
            <a:chOff x="9209747" y="1811140"/>
            <a:chExt cx="2393613" cy="1125691"/>
          </a:xfrm>
        </p:grpSpPr>
        <p:sp>
          <p:nvSpPr>
            <p:cNvPr id="195" name="Freeform 518">
              <a:extLst>
                <a:ext uri="{FF2B5EF4-FFF2-40B4-BE49-F238E27FC236}">
                  <a16:creationId xmlns:a16="http://schemas.microsoft.com/office/drawing/2014/main" id="{48AE5FCB-E6E0-4A7B-9705-568216E18884}"/>
                </a:ext>
              </a:extLst>
            </p:cNvPr>
            <p:cNvSpPr>
              <a:spLocks noChangeAspect="1" noEditPoints="1"/>
            </p:cNvSpPr>
            <p:nvPr/>
          </p:nvSpPr>
          <p:spPr bwMode="auto">
            <a:xfrm>
              <a:off x="9209747" y="1913250"/>
              <a:ext cx="735039" cy="780164"/>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rgbClr val="86BC25"/>
            </a:solidFill>
            <a:ln>
              <a:noFill/>
            </a:ln>
          </p:spPr>
          <p:txBody>
            <a:bodyPr vert="horz" wrap="square" lIns="91441" tIns="45719" rIns="91441" bIns="45719" numCol="1" anchor="t" anchorCtr="0" compatLnSpc="1">
              <a:prstTxWarp prst="textNoShape">
                <a:avLst/>
              </a:prstTxWarp>
            </a:bodyPr>
            <a:lstStyle/>
            <a:p>
              <a:pPr>
                <a:defRPr/>
              </a:pPr>
              <a:endParaRPr lang="en-GB" sz="3200" dirty="0">
                <a:solidFill>
                  <a:schemeClr val="bg1"/>
                </a:solidFill>
                <a:latin typeface="Verdana"/>
              </a:endParaRPr>
            </a:p>
          </p:txBody>
        </p:sp>
        <p:sp>
          <p:nvSpPr>
            <p:cNvPr id="192" name="Freeform 613">
              <a:extLst>
                <a:ext uri="{FF2B5EF4-FFF2-40B4-BE49-F238E27FC236}">
                  <a16:creationId xmlns:a16="http://schemas.microsoft.com/office/drawing/2014/main" id="{0AF40703-5EED-4434-A0CD-0D4CBD1314CA}"/>
                </a:ext>
              </a:extLst>
            </p:cNvPr>
            <p:cNvSpPr>
              <a:spLocks noEditPoints="1"/>
            </p:cNvSpPr>
            <p:nvPr/>
          </p:nvSpPr>
          <p:spPr bwMode="auto">
            <a:xfrm>
              <a:off x="10086165" y="1811140"/>
              <a:ext cx="997086" cy="1125691"/>
            </a:xfrm>
            <a:custGeom>
              <a:avLst/>
              <a:gdLst>
                <a:gd name="T0" fmla="*/ 262 w 274"/>
                <a:gd name="T1" fmla="*/ 198 h 273"/>
                <a:gd name="T2" fmla="*/ 237 w 274"/>
                <a:gd name="T3" fmla="*/ 222 h 273"/>
                <a:gd name="T4" fmla="*/ 262 w 274"/>
                <a:gd name="T5" fmla="*/ 246 h 273"/>
                <a:gd name="T6" fmla="*/ 262 w 274"/>
                <a:gd name="T7" fmla="*/ 262 h 273"/>
                <a:gd name="T8" fmla="*/ 254 w 274"/>
                <a:gd name="T9" fmla="*/ 265 h 273"/>
                <a:gd name="T10" fmla="*/ 246 w 274"/>
                <a:gd name="T11" fmla="*/ 262 h 273"/>
                <a:gd name="T12" fmla="*/ 222 w 274"/>
                <a:gd name="T13" fmla="*/ 237 h 273"/>
                <a:gd name="T14" fmla="*/ 198 w 274"/>
                <a:gd name="T15" fmla="*/ 262 h 273"/>
                <a:gd name="T16" fmla="*/ 190 w 274"/>
                <a:gd name="T17" fmla="*/ 265 h 273"/>
                <a:gd name="T18" fmla="*/ 182 w 274"/>
                <a:gd name="T19" fmla="*/ 262 h 273"/>
                <a:gd name="T20" fmla="*/ 182 w 274"/>
                <a:gd name="T21" fmla="*/ 246 h 273"/>
                <a:gd name="T22" fmla="*/ 207 w 274"/>
                <a:gd name="T23" fmla="*/ 222 h 273"/>
                <a:gd name="T24" fmla="*/ 182 w 274"/>
                <a:gd name="T25" fmla="*/ 198 h 273"/>
                <a:gd name="T26" fmla="*/ 182 w 274"/>
                <a:gd name="T27" fmla="*/ 182 h 273"/>
                <a:gd name="T28" fmla="*/ 198 w 274"/>
                <a:gd name="T29" fmla="*/ 182 h 273"/>
                <a:gd name="T30" fmla="*/ 222 w 274"/>
                <a:gd name="T31" fmla="*/ 207 h 273"/>
                <a:gd name="T32" fmla="*/ 246 w 274"/>
                <a:gd name="T33" fmla="*/ 182 h 273"/>
                <a:gd name="T34" fmla="*/ 262 w 274"/>
                <a:gd name="T35" fmla="*/ 182 h 273"/>
                <a:gd name="T36" fmla="*/ 262 w 274"/>
                <a:gd name="T37" fmla="*/ 198 h 273"/>
                <a:gd name="T38" fmla="*/ 122 w 274"/>
                <a:gd name="T39" fmla="*/ 197 h 273"/>
                <a:gd name="T40" fmla="*/ 76 w 274"/>
                <a:gd name="T41" fmla="*/ 242 h 273"/>
                <a:gd name="T42" fmla="*/ 54 w 274"/>
                <a:gd name="T43" fmla="*/ 252 h 273"/>
                <a:gd name="T44" fmla="*/ 31 w 274"/>
                <a:gd name="T45" fmla="*/ 242 h 273"/>
                <a:gd name="T46" fmla="*/ 21 w 274"/>
                <a:gd name="T47" fmla="*/ 219 h 273"/>
                <a:gd name="T48" fmla="*/ 31 w 274"/>
                <a:gd name="T49" fmla="*/ 197 h 273"/>
                <a:gd name="T50" fmla="*/ 99 w 274"/>
                <a:gd name="T51" fmla="*/ 129 h 273"/>
                <a:gd name="T52" fmla="*/ 121 w 274"/>
                <a:gd name="T53" fmla="*/ 119 h 273"/>
                <a:gd name="T54" fmla="*/ 144 w 274"/>
                <a:gd name="T55" fmla="*/ 129 h 273"/>
                <a:gd name="T56" fmla="*/ 159 w 274"/>
                <a:gd name="T57" fmla="*/ 129 h 273"/>
                <a:gd name="T58" fmla="*/ 159 w 274"/>
                <a:gd name="T59" fmla="*/ 114 h 273"/>
                <a:gd name="T60" fmla="*/ 120 w 274"/>
                <a:gd name="T61" fmla="*/ 98 h 273"/>
                <a:gd name="T62" fmla="*/ 84 w 274"/>
                <a:gd name="T63" fmla="*/ 114 h 273"/>
                <a:gd name="T64" fmla="*/ 16 w 274"/>
                <a:gd name="T65" fmla="*/ 182 h 273"/>
                <a:gd name="T66" fmla="*/ 0 w 274"/>
                <a:gd name="T67" fmla="*/ 219 h 273"/>
                <a:gd name="T68" fmla="*/ 16 w 274"/>
                <a:gd name="T69" fmla="*/ 257 h 273"/>
                <a:gd name="T70" fmla="*/ 53 w 274"/>
                <a:gd name="T71" fmla="*/ 273 h 273"/>
                <a:gd name="T72" fmla="*/ 55 w 274"/>
                <a:gd name="T73" fmla="*/ 273 h 273"/>
                <a:gd name="T74" fmla="*/ 91 w 274"/>
                <a:gd name="T75" fmla="*/ 257 h 273"/>
                <a:gd name="T76" fmla="*/ 137 w 274"/>
                <a:gd name="T77" fmla="*/ 212 h 273"/>
                <a:gd name="T78" fmla="*/ 137 w 274"/>
                <a:gd name="T79" fmla="*/ 197 h 273"/>
                <a:gd name="T80" fmla="*/ 122 w 274"/>
                <a:gd name="T81" fmla="*/ 197 h 273"/>
                <a:gd name="T82" fmla="*/ 257 w 274"/>
                <a:gd name="T83" fmla="*/ 91 h 273"/>
                <a:gd name="T84" fmla="*/ 273 w 274"/>
                <a:gd name="T85" fmla="*/ 55 h 273"/>
                <a:gd name="T86" fmla="*/ 257 w 274"/>
                <a:gd name="T87" fmla="*/ 16 h 273"/>
                <a:gd name="T88" fmla="*/ 219 w 274"/>
                <a:gd name="T89" fmla="*/ 0 h 273"/>
                <a:gd name="T90" fmla="*/ 182 w 274"/>
                <a:gd name="T91" fmla="*/ 16 h 273"/>
                <a:gd name="T92" fmla="*/ 137 w 274"/>
                <a:gd name="T93" fmla="*/ 61 h 273"/>
                <a:gd name="T94" fmla="*/ 137 w 274"/>
                <a:gd name="T95" fmla="*/ 76 h 273"/>
                <a:gd name="T96" fmla="*/ 152 w 274"/>
                <a:gd name="T97" fmla="*/ 76 h 273"/>
                <a:gd name="T98" fmla="*/ 197 w 274"/>
                <a:gd name="T99" fmla="*/ 31 h 273"/>
                <a:gd name="T100" fmla="*/ 219 w 274"/>
                <a:gd name="T101" fmla="*/ 21 h 273"/>
                <a:gd name="T102" fmla="*/ 242 w 274"/>
                <a:gd name="T103" fmla="*/ 31 h 273"/>
                <a:gd name="T104" fmla="*/ 252 w 274"/>
                <a:gd name="T105" fmla="*/ 54 h 273"/>
                <a:gd name="T106" fmla="*/ 242 w 274"/>
                <a:gd name="T107" fmla="*/ 76 h 273"/>
                <a:gd name="T108" fmla="*/ 174 w 274"/>
                <a:gd name="T109" fmla="*/ 144 h 273"/>
                <a:gd name="T110" fmla="*/ 152 w 274"/>
                <a:gd name="T111" fmla="*/ 154 h 273"/>
                <a:gd name="T112" fmla="*/ 129 w 274"/>
                <a:gd name="T113" fmla="*/ 144 h 273"/>
                <a:gd name="T114" fmla="*/ 114 w 274"/>
                <a:gd name="T115" fmla="*/ 144 h 273"/>
                <a:gd name="T116" fmla="*/ 114 w 274"/>
                <a:gd name="T117" fmla="*/ 159 h 273"/>
                <a:gd name="T118" fmla="*/ 152 w 274"/>
                <a:gd name="T119" fmla="*/ 175 h 273"/>
                <a:gd name="T120" fmla="*/ 153 w 274"/>
                <a:gd name="T121" fmla="*/ 175 h 273"/>
                <a:gd name="T122" fmla="*/ 189 w 274"/>
                <a:gd name="T123" fmla="*/ 159 h 273"/>
                <a:gd name="T124" fmla="*/ 257 w 274"/>
                <a:gd name="T125" fmla="*/ 9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273">
                  <a:moveTo>
                    <a:pt x="262" y="198"/>
                  </a:moveTo>
                  <a:cubicBezTo>
                    <a:pt x="237" y="222"/>
                    <a:pt x="237" y="222"/>
                    <a:pt x="237" y="222"/>
                  </a:cubicBezTo>
                  <a:cubicBezTo>
                    <a:pt x="262" y="246"/>
                    <a:pt x="262" y="246"/>
                    <a:pt x="262" y="246"/>
                  </a:cubicBezTo>
                  <a:cubicBezTo>
                    <a:pt x="266" y="251"/>
                    <a:pt x="266" y="257"/>
                    <a:pt x="262" y="262"/>
                  </a:cubicBezTo>
                  <a:cubicBezTo>
                    <a:pt x="259" y="264"/>
                    <a:pt x="257" y="265"/>
                    <a:pt x="254" y="265"/>
                  </a:cubicBezTo>
                  <a:cubicBezTo>
                    <a:pt x="251" y="265"/>
                    <a:pt x="249" y="264"/>
                    <a:pt x="246" y="262"/>
                  </a:cubicBezTo>
                  <a:cubicBezTo>
                    <a:pt x="222" y="237"/>
                    <a:pt x="222" y="237"/>
                    <a:pt x="222" y="237"/>
                  </a:cubicBezTo>
                  <a:cubicBezTo>
                    <a:pt x="198" y="262"/>
                    <a:pt x="198" y="262"/>
                    <a:pt x="198" y="262"/>
                  </a:cubicBezTo>
                  <a:cubicBezTo>
                    <a:pt x="195" y="264"/>
                    <a:pt x="193" y="265"/>
                    <a:pt x="190" y="265"/>
                  </a:cubicBezTo>
                  <a:cubicBezTo>
                    <a:pt x="187" y="265"/>
                    <a:pt x="185" y="264"/>
                    <a:pt x="182" y="262"/>
                  </a:cubicBezTo>
                  <a:cubicBezTo>
                    <a:pt x="178" y="257"/>
                    <a:pt x="178" y="251"/>
                    <a:pt x="182" y="246"/>
                  </a:cubicBezTo>
                  <a:cubicBezTo>
                    <a:pt x="207" y="222"/>
                    <a:pt x="207" y="222"/>
                    <a:pt x="207" y="222"/>
                  </a:cubicBezTo>
                  <a:cubicBezTo>
                    <a:pt x="182" y="198"/>
                    <a:pt x="182" y="198"/>
                    <a:pt x="182" y="198"/>
                  </a:cubicBezTo>
                  <a:cubicBezTo>
                    <a:pt x="178" y="193"/>
                    <a:pt x="178" y="187"/>
                    <a:pt x="182" y="182"/>
                  </a:cubicBezTo>
                  <a:cubicBezTo>
                    <a:pt x="187" y="178"/>
                    <a:pt x="193" y="178"/>
                    <a:pt x="198" y="182"/>
                  </a:cubicBezTo>
                  <a:cubicBezTo>
                    <a:pt x="222" y="207"/>
                    <a:pt x="222" y="207"/>
                    <a:pt x="222" y="207"/>
                  </a:cubicBezTo>
                  <a:cubicBezTo>
                    <a:pt x="246" y="182"/>
                    <a:pt x="246" y="182"/>
                    <a:pt x="246" y="182"/>
                  </a:cubicBezTo>
                  <a:cubicBezTo>
                    <a:pt x="251" y="178"/>
                    <a:pt x="257" y="178"/>
                    <a:pt x="262" y="182"/>
                  </a:cubicBezTo>
                  <a:cubicBezTo>
                    <a:pt x="266" y="187"/>
                    <a:pt x="266" y="193"/>
                    <a:pt x="262" y="198"/>
                  </a:cubicBezTo>
                  <a:close/>
                  <a:moveTo>
                    <a:pt x="122" y="197"/>
                  </a:moveTo>
                  <a:cubicBezTo>
                    <a:pt x="76" y="242"/>
                    <a:pt x="76" y="242"/>
                    <a:pt x="76" y="242"/>
                  </a:cubicBezTo>
                  <a:cubicBezTo>
                    <a:pt x="70" y="248"/>
                    <a:pt x="62" y="252"/>
                    <a:pt x="54" y="252"/>
                  </a:cubicBezTo>
                  <a:cubicBezTo>
                    <a:pt x="46" y="252"/>
                    <a:pt x="38" y="249"/>
                    <a:pt x="31" y="242"/>
                  </a:cubicBezTo>
                  <a:cubicBezTo>
                    <a:pt x="24" y="236"/>
                    <a:pt x="21" y="228"/>
                    <a:pt x="21" y="219"/>
                  </a:cubicBezTo>
                  <a:cubicBezTo>
                    <a:pt x="22" y="211"/>
                    <a:pt x="25" y="203"/>
                    <a:pt x="31" y="197"/>
                  </a:cubicBezTo>
                  <a:cubicBezTo>
                    <a:pt x="99" y="129"/>
                    <a:pt x="99" y="129"/>
                    <a:pt x="99" y="129"/>
                  </a:cubicBezTo>
                  <a:cubicBezTo>
                    <a:pt x="105" y="123"/>
                    <a:pt x="113" y="120"/>
                    <a:pt x="121" y="119"/>
                  </a:cubicBezTo>
                  <a:cubicBezTo>
                    <a:pt x="130" y="119"/>
                    <a:pt x="138" y="123"/>
                    <a:pt x="144" y="129"/>
                  </a:cubicBezTo>
                  <a:cubicBezTo>
                    <a:pt x="148" y="133"/>
                    <a:pt x="155" y="133"/>
                    <a:pt x="159" y="129"/>
                  </a:cubicBezTo>
                  <a:cubicBezTo>
                    <a:pt x="163" y="125"/>
                    <a:pt x="163" y="118"/>
                    <a:pt x="159" y="114"/>
                  </a:cubicBezTo>
                  <a:cubicBezTo>
                    <a:pt x="149" y="103"/>
                    <a:pt x="135" y="98"/>
                    <a:pt x="120" y="98"/>
                  </a:cubicBezTo>
                  <a:cubicBezTo>
                    <a:pt x="107" y="98"/>
                    <a:pt x="94" y="104"/>
                    <a:pt x="84" y="114"/>
                  </a:cubicBezTo>
                  <a:cubicBezTo>
                    <a:pt x="16" y="182"/>
                    <a:pt x="16" y="182"/>
                    <a:pt x="16" y="182"/>
                  </a:cubicBezTo>
                  <a:cubicBezTo>
                    <a:pt x="6" y="192"/>
                    <a:pt x="0" y="205"/>
                    <a:pt x="0" y="219"/>
                  </a:cubicBezTo>
                  <a:cubicBezTo>
                    <a:pt x="0" y="233"/>
                    <a:pt x="5" y="247"/>
                    <a:pt x="16" y="257"/>
                  </a:cubicBezTo>
                  <a:cubicBezTo>
                    <a:pt x="26" y="268"/>
                    <a:pt x="40" y="273"/>
                    <a:pt x="53" y="273"/>
                  </a:cubicBezTo>
                  <a:cubicBezTo>
                    <a:pt x="54" y="273"/>
                    <a:pt x="54" y="273"/>
                    <a:pt x="55" y="273"/>
                  </a:cubicBezTo>
                  <a:cubicBezTo>
                    <a:pt x="68" y="273"/>
                    <a:pt x="81" y="267"/>
                    <a:pt x="91" y="257"/>
                  </a:cubicBezTo>
                  <a:cubicBezTo>
                    <a:pt x="137" y="212"/>
                    <a:pt x="137" y="212"/>
                    <a:pt x="137" y="212"/>
                  </a:cubicBezTo>
                  <a:cubicBezTo>
                    <a:pt x="141" y="208"/>
                    <a:pt x="141" y="201"/>
                    <a:pt x="137" y="197"/>
                  </a:cubicBezTo>
                  <a:cubicBezTo>
                    <a:pt x="133" y="193"/>
                    <a:pt x="126" y="193"/>
                    <a:pt x="122" y="197"/>
                  </a:cubicBezTo>
                  <a:close/>
                  <a:moveTo>
                    <a:pt x="257" y="91"/>
                  </a:moveTo>
                  <a:cubicBezTo>
                    <a:pt x="267" y="81"/>
                    <a:pt x="273" y="68"/>
                    <a:pt x="273" y="55"/>
                  </a:cubicBezTo>
                  <a:cubicBezTo>
                    <a:pt x="274" y="40"/>
                    <a:pt x="268" y="27"/>
                    <a:pt x="257" y="16"/>
                  </a:cubicBez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lnTo>
                    <a:pt x="257" y="91"/>
                  </a:lnTo>
                  <a:close/>
                </a:path>
              </a:pathLst>
            </a:custGeom>
            <a:solidFill>
              <a:srgbClr val="7F7F7F"/>
            </a:solidFill>
            <a:ln>
              <a:noFill/>
            </a:ln>
            <a:extLst>
              <a:ext uri="{91240B29-F687-4f45-9708-019B960494DF}">
                <a14:hiddenLine xmlns="" xmlns:p14="http://schemas.microsoft.com/office/powerpoint/2010/main"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93" name="Freeform 350">
              <a:extLst>
                <a:ext uri="{FF2B5EF4-FFF2-40B4-BE49-F238E27FC236}">
                  <a16:creationId xmlns:a16="http://schemas.microsoft.com/office/drawing/2014/main" id="{193221B4-91D9-4703-ACCF-72F6D8E65BF4}"/>
                </a:ext>
              </a:extLst>
            </p:cNvPr>
            <p:cNvSpPr>
              <a:spLocks noEditPoints="1"/>
            </p:cNvSpPr>
            <p:nvPr/>
          </p:nvSpPr>
          <p:spPr bwMode="auto">
            <a:xfrm>
              <a:off x="11136407" y="2275375"/>
              <a:ext cx="466953" cy="605494"/>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00795" tIns="50399" rIns="100795" bIns="50399" numCol="1" anchor="t" anchorCtr="0" compatLnSpc="1">
              <a:prstTxWarp prst="textNoShape">
                <a:avLst/>
              </a:prstTxWarp>
            </a:bodyPr>
            <a:lstStyle/>
            <a:p>
              <a:endParaRPr lang="en-GB" sz="2262" dirty="0">
                <a:solidFill>
                  <a:schemeClr val="bg1"/>
                </a:solidFill>
              </a:endParaRPr>
            </a:p>
          </p:txBody>
        </p:sp>
      </p:grpSp>
      <p:sp>
        <p:nvSpPr>
          <p:cNvPr id="196" name="Rectangle 195">
            <a:extLst>
              <a:ext uri="{FF2B5EF4-FFF2-40B4-BE49-F238E27FC236}">
                <a16:creationId xmlns:a16="http://schemas.microsoft.com/office/drawing/2014/main" id="{9541ADB9-C7B6-4B56-80D3-7FC6D6F14118}"/>
              </a:ext>
            </a:extLst>
          </p:cNvPr>
          <p:cNvSpPr/>
          <p:nvPr/>
        </p:nvSpPr>
        <p:spPr bwMode="gray">
          <a:xfrm>
            <a:off x="515952" y="1442970"/>
            <a:ext cx="1326058" cy="428124"/>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NZ" sz="2000" b="1" dirty="0">
                <a:solidFill>
                  <a:schemeClr val="bg1"/>
                </a:solidFill>
              </a:rPr>
              <a:t>Challenges</a:t>
            </a:r>
            <a:endParaRPr lang="en-NZ" sz="2000" b="1" noProof="0" dirty="0">
              <a:solidFill>
                <a:schemeClr val="bg1"/>
              </a:solidFill>
            </a:endParaRPr>
          </a:p>
        </p:txBody>
      </p:sp>
      <p:grpSp>
        <p:nvGrpSpPr>
          <p:cNvPr id="211" name="Group 210">
            <a:extLst>
              <a:ext uri="{FF2B5EF4-FFF2-40B4-BE49-F238E27FC236}">
                <a16:creationId xmlns:a16="http://schemas.microsoft.com/office/drawing/2014/main" id="{368993BF-1B56-AC3F-C14E-8794BE1DE3FC}"/>
              </a:ext>
            </a:extLst>
          </p:cNvPr>
          <p:cNvGrpSpPr/>
          <p:nvPr/>
        </p:nvGrpSpPr>
        <p:grpSpPr>
          <a:xfrm>
            <a:off x="4202363" y="1678440"/>
            <a:ext cx="2671730" cy="1554899"/>
            <a:chOff x="4202363" y="1678440"/>
            <a:chExt cx="2671730" cy="1554899"/>
          </a:xfrm>
        </p:grpSpPr>
        <p:cxnSp>
          <p:nvCxnSpPr>
            <p:cNvPr id="10" name="Straight Connector 9">
              <a:extLst>
                <a:ext uri="{FF2B5EF4-FFF2-40B4-BE49-F238E27FC236}">
                  <a16:creationId xmlns:a16="http://schemas.microsoft.com/office/drawing/2014/main" id="{C6EB3F1C-B533-49B2-8D09-97A83635B36C}"/>
                </a:ext>
              </a:extLst>
            </p:cNvPr>
            <p:cNvCxnSpPr>
              <a:cxnSpLocks/>
              <a:endCxn id="129" idx="2"/>
            </p:cNvCxnSpPr>
            <p:nvPr/>
          </p:nvCxnSpPr>
          <p:spPr>
            <a:xfrm flipH="1" flipV="1">
              <a:off x="4473479" y="2246428"/>
              <a:ext cx="492670" cy="441579"/>
            </a:xfrm>
            <a:prstGeom prst="line">
              <a:avLst/>
            </a:prstGeom>
            <a:solidFill>
              <a:schemeClr val="tx1"/>
            </a:solidFill>
            <a:ln w="6350" algn="ctr">
              <a:solidFill>
                <a:schemeClr val="bg1">
                  <a:lumMod val="85000"/>
                </a:schemeClr>
              </a:solidFill>
              <a:prstDash val="dash"/>
              <a:miter lim="800000"/>
              <a:headEnd/>
              <a:tailEnd/>
            </a:ln>
          </p:spPr>
        </p:cxnSp>
        <p:grpSp>
          <p:nvGrpSpPr>
            <p:cNvPr id="16" name="Group 336">
              <a:extLst>
                <a:ext uri="{FF2B5EF4-FFF2-40B4-BE49-F238E27FC236}">
                  <a16:creationId xmlns:a16="http://schemas.microsoft.com/office/drawing/2014/main" id="{53A0F9C3-11A1-40A9-985E-DF10DDE107C0}"/>
                </a:ext>
              </a:extLst>
            </p:cNvPr>
            <p:cNvGrpSpPr>
              <a:grpSpLocks noChangeAspect="1"/>
            </p:cNvGrpSpPr>
            <p:nvPr/>
          </p:nvGrpSpPr>
          <p:grpSpPr bwMode="auto">
            <a:xfrm>
              <a:off x="4907758" y="2713155"/>
              <a:ext cx="363023" cy="447334"/>
              <a:chOff x="4312" y="1261"/>
              <a:chExt cx="156" cy="236"/>
            </a:xfrm>
            <a:solidFill>
              <a:schemeClr val="accent6"/>
            </a:solidFill>
          </p:grpSpPr>
          <p:sp>
            <p:nvSpPr>
              <p:cNvPr id="17" name="Freeform 338">
                <a:extLst>
                  <a:ext uri="{FF2B5EF4-FFF2-40B4-BE49-F238E27FC236}">
                    <a16:creationId xmlns:a16="http://schemas.microsoft.com/office/drawing/2014/main" id="{C7BC907B-18E5-455F-942C-78E60BBEC2C5}"/>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8" name="Freeform 339">
                <a:extLst>
                  <a:ext uri="{FF2B5EF4-FFF2-40B4-BE49-F238E27FC236}">
                    <a16:creationId xmlns:a16="http://schemas.microsoft.com/office/drawing/2014/main" id="{28129E48-7CC5-46CC-A8AD-13B2D6D68B5A}"/>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9" name="Freeform 340">
                <a:extLst>
                  <a:ext uri="{FF2B5EF4-FFF2-40B4-BE49-F238E27FC236}">
                    <a16:creationId xmlns:a16="http://schemas.microsoft.com/office/drawing/2014/main" id="{4882E3AE-6EE4-4279-8429-F92C83998EDB}"/>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0" name="Freeform 341">
                <a:extLst>
                  <a:ext uri="{FF2B5EF4-FFF2-40B4-BE49-F238E27FC236}">
                    <a16:creationId xmlns:a16="http://schemas.microsoft.com/office/drawing/2014/main" id="{E398FB3B-E09D-49AC-9DFA-7DBB514F93BA}"/>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1" name="Freeform 342">
                <a:extLst>
                  <a:ext uri="{FF2B5EF4-FFF2-40B4-BE49-F238E27FC236}">
                    <a16:creationId xmlns:a16="http://schemas.microsoft.com/office/drawing/2014/main" id="{42D220C0-5682-4BA2-85DE-9AC25D7DF0E7}"/>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pic>
          <p:nvPicPr>
            <p:cNvPr id="129" name="Graphic 128" descr="Open envelope with solid fill">
              <a:extLst>
                <a:ext uri="{FF2B5EF4-FFF2-40B4-BE49-F238E27FC236}">
                  <a16:creationId xmlns:a16="http://schemas.microsoft.com/office/drawing/2014/main" id="{91BAA6E6-3002-587B-3298-185999F9742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02363" y="1704196"/>
              <a:ext cx="542232" cy="542232"/>
            </a:xfrm>
            <a:prstGeom prst="rect">
              <a:avLst/>
            </a:prstGeom>
          </p:spPr>
        </p:pic>
        <p:pic>
          <p:nvPicPr>
            <p:cNvPr id="139" name="Graphic 138" descr="Server outline">
              <a:extLst>
                <a:ext uri="{FF2B5EF4-FFF2-40B4-BE49-F238E27FC236}">
                  <a16:creationId xmlns:a16="http://schemas.microsoft.com/office/drawing/2014/main" id="{CA3BBAB5-8B23-907B-2ECB-5EBC6FF44CE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23482" y="1721597"/>
              <a:ext cx="542232" cy="542232"/>
            </a:xfrm>
            <a:prstGeom prst="rect">
              <a:avLst/>
            </a:prstGeom>
          </p:spPr>
        </p:pic>
        <p:pic>
          <p:nvPicPr>
            <p:cNvPr id="141" name="Graphic 140" descr="Syncing cloud with solid fill">
              <a:extLst>
                <a:ext uri="{FF2B5EF4-FFF2-40B4-BE49-F238E27FC236}">
                  <a16:creationId xmlns:a16="http://schemas.microsoft.com/office/drawing/2014/main" id="{0C574AA7-346E-CE25-5CA9-DBCFBFCF8D1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3925" y="1678440"/>
              <a:ext cx="542232" cy="542232"/>
            </a:xfrm>
            <a:prstGeom prst="rect">
              <a:avLst/>
            </a:prstGeom>
          </p:spPr>
        </p:pic>
        <p:pic>
          <p:nvPicPr>
            <p:cNvPr id="143" name="Graphic 142" descr="Database with solid fill">
              <a:extLst>
                <a:ext uri="{FF2B5EF4-FFF2-40B4-BE49-F238E27FC236}">
                  <a16:creationId xmlns:a16="http://schemas.microsoft.com/office/drawing/2014/main" id="{6EA73410-8C24-14CD-FC37-8753EDE62C8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31861" y="1735360"/>
              <a:ext cx="542232" cy="542232"/>
            </a:xfrm>
            <a:prstGeom prst="rect">
              <a:avLst/>
            </a:prstGeom>
          </p:spPr>
        </p:pic>
        <p:grpSp>
          <p:nvGrpSpPr>
            <p:cNvPr id="146" name="Group 145">
              <a:extLst>
                <a:ext uri="{FF2B5EF4-FFF2-40B4-BE49-F238E27FC236}">
                  <a16:creationId xmlns:a16="http://schemas.microsoft.com/office/drawing/2014/main" id="{202545D0-5F42-B39A-40EA-C5003FFEEB83}"/>
                </a:ext>
              </a:extLst>
            </p:cNvPr>
            <p:cNvGrpSpPr/>
            <p:nvPr/>
          </p:nvGrpSpPr>
          <p:grpSpPr>
            <a:xfrm>
              <a:off x="5167367" y="2570375"/>
              <a:ext cx="378576" cy="477675"/>
              <a:chOff x="12378061" y="2899865"/>
              <a:chExt cx="378576" cy="477675"/>
            </a:xfrm>
          </p:grpSpPr>
          <p:sp>
            <p:nvSpPr>
              <p:cNvPr id="145" name="Rectangle 144">
                <a:extLst>
                  <a:ext uri="{FF2B5EF4-FFF2-40B4-BE49-F238E27FC236}">
                    <a16:creationId xmlns:a16="http://schemas.microsoft.com/office/drawing/2014/main" id="{54A65AA1-F43C-2F4C-20C2-A0C691F86613}"/>
                  </a:ext>
                </a:extLst>
              </p:cNvPr>
              <p:cNvSpPr/>
              <p:nvPr/>
            </p:nvSpPr>
            <p:spPr>
              <a:xfrm>
                <a:off x="12378061" y="2899865"/>
                <a:ext cx="378576" cy="4776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nvGrpSpPr>
              <p:cNvPr id="34" name="Group 336">
                <a:extLst>
                  <a:ext uri="{FF2B5EF4-FFF2-40B4-BE49-F238E27FC236}">
                    <a16:creationId xmlns:a16="http://schemas.microsoft.com/office/drawing/2014/main" id="{3DFB4F9E-2832-4B23-8924-C86239B77967}"/>
                  </a:ext>
                </a:extLst>
              </p:cNvPr>
              <p:cNvGrpSpPr>
                <a:grpSpLocks noChangeAspect="1"/>
              </p:cNvGrpSpPr>
              <p:nvPr/>
            </p:nvGrpSpPr>
            <p:grpSpPr bwMode="auto">
              <a:xfrm>
                <a:off x="12378061" y="2901471"/>
                <a:ext cx="363023" cy="447334"/>
                <a:chOff x="4312" y="1261"/>
                <a:chExt cx="156" cy="236"/>
              </a:xfrm>
              <a:solidFill>
                <a:schemeClr val="accent6"/>
              </a:solidFill>
            </p:grpSpPr>
            <p:sp>
              <p:nvSpPr>
                <p:cNvPr id="35" name="Freeform 338">
                  <a:extLst>
                    <a:ext uri="{FF2B5EF4-FFF2-40B4-BE49-F238E27FC236}">
                      <a16:creationId xmlns:a16="http://schemas.microsoft.com/office/drawing/2014/main" id="{D066F352-EE34-439E-A3F7-832B14B6200D}"/>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6" name="Freeform 339">
                  <a:extLst>
                    <a:ext uri="{FF2B5EF4-FFF2-40B4-BE49-F238E27FC236}">
                      <a16:creationId xmlns:a16="http://schemas.microsoft.com/office/drawing/2014/main" id="{C28C2C24-A407-45C9-88BE-5A1E76A764DA}"/>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7" name="Freeform 340">
                  <a:extLst>
                    <a:ext uri="{FF2B5EF4-FFF2-40B4-BE49-F238E27FC236}">
                      <a16:creationId xmlns:a16="http://schemas.microsoft.com/office/drawing/2014/main" id="{442FE178-EB95-47B3-ACC4-F42596BED613}"/>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8" name="Freeform 341">
                  <a:extLst>
                    <a:ext uri="{FF2B5EF4-FFF2-40B4-BE49-F238E27FC236}">
                      <a16:creationId xmlns:a16="http://schemas.microsoft.com/office/drawing/2014/main" id="{366E72F5-0B03-41CE-A8B7-F3C21F0D110E}"/>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39" name="Freeform 342">
                  <a:extLst>
                    <a:ext uri="{FF2B5EF4-FFF2-40B4-BE49-F238E27FC236}">
                      <a16:creationId xmlns:a16="http://schemas.microsoft.com/office/drawing/2014/main" id="{FFA42859-A572-4786-9C73-B4CD1DABBA36}"/>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grpSp>
          <p:nvGrpSpPr>
            <p:cNvPr id="155" name="Group 154">
              <a:extLst>
                <a:ext uri="{FF2B5EF4-FFF2-40B4-BE49-F238E27FC236}">
                  <a16:creationId xmlns:a16="http://schemas.microsoft.com/office/drawing/2014/main" id="{73E8568C-F7EA-CC7E-83FA-0A0D83E4EBA1}"/>
                </a:ext>
              </a:extLst>
            </p:cNvPr>
            <p:cNvGrpSpPr/>
            <p:nvPr/>
          </p:nvGrpSpPr>
          <p:grpSpPr>
            <a:xfrm>
              <a:off x="5406258" y="2727956"/>
              <a:ext cx="378576" cy="477675"/>
              <a:chOff x="12378061" y="2899865"/>
              <a:chExt cx="378576" cy="477675"/>
            </a:xfrm>
          </p:grpSpPr>
          <p:sp>
            <p:nvSpPr>
              <p:cNvPr id="156" name="Rectangle 155">
                <a:extLst>
                  <a:ext uri="{FF2B5EF4-FFF2-40B4-BE49-F238E27FC236}">
                    <a16:creationId xmlns:a16="http://schemas.microsoft.com/office/drawing/2014/main" id="{AC95116F-FA07-D505-3AB4-17EF5995632D}"/>
                  </a:ext>
                </a:extLst>
              </p:cNvPr>
              <p:cNvSpPr/>
              <p:nvPr/>
            </p:nvSpPr>
            <p:spPr>
              <a:xfrm>
                <a:off x="12378061" y="2899865"/>
                <a:ext cx="378576" cy="4776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nvGrpSpPr>
              <p:cNvPr id="157" name="Group 336">
                <a:extLst>
                  <a:ext uri="{FF2B5EF4-FFF2-40B4-BE49-F238E27FC236}">
                    <a16:creationId xmlns:a16="http://schemas.microsoft.com/office/drawing/2014/main" id="{DF04E447-002C-60F1-AF90-9AC82A120249}"/>
                  </a:ext>
                </a:extLst>
              </p:cNvPr>
              <p:cNvGrpSpPr>
                <a:grpSpLocks noChangeAspect="1"/>
              </p:cNvGrpSpPr>
              <p:nvPr/>
            </p:nvGrpSpPr>
            <p:grpSpPr bwMode="auto">
              <a:xfrm>
                <a:off x="12378061" y="2901471"/>
                <a:ext cx="363023" cy="447334"/>
                <a:chOff x="4312" y="1261"/>
                <a:chExt cx="156" cy="236"/>
              </a:xfrm>
              <a:solidFill>
                <a:schemeClr val="accent6"/>
              </a:solidFill>
            </p:grpSpPr>
            <p:sp>
              <p:nvSpPr>
                <p:cNvPr id="158" name="Freeform 338">
                  <a:extLst>
                    <a:ext uri="{FF2B5EF4-FFF2-40B4-BE49-F238E27FC236}">
                      <a16:creationId xmlns:a16="http://schemas.microsoft.com/office/drawing/2014/main" id="{F40BFB9F-72D4-CBD9-4915-89829712109E}"/>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59" name="Freeform 339">
                  <a:extLst>
                    <a:ext uri="{FF2B5EF4-FFF2-40B4-BE49-F238E27FC236}">
                      <a16:creationId xmlns:a16="http://schemas.microsoft.com/office/drawing/2014/main" id="{6D1A4ADA-9F2E-9BFF-3AEE-B3B7C2DF1D1A}"/>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60" name="Freeform 340">
                  <a:extLst>
                    <a:ext uri="{FF2B5EF4-FFF2-40B4-BE49-F238E27FC236}">
                      <a16:creationId xmlns:a16="http://schemas.microsoft.com/office/drawing/2014/main" id="{D348B44C-0A10-5AB7-6A1A-3760CBB60DF4}"/>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61" name="Freeform 341">
                  <a:extLst>
                    <a:ext uri="{FF2B5EF4-FFF2-40B4-BE49-F238E27FC236}">
                      <a16:creationId xmlns:a16="http://schemas.microsoft.com/office/drawing/2014/main" id="{0CC3CA01-597C-853D-AD69-48876C68B901}"/>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62" name="Freeform 342">
                  <a:extLst>
                    <a:ext uri="{FF2B5EF4-FFF2-40B4-BE49-F238E27FC236}">
                      <a16:creationId xmlns:a16="http://schemas.microsoft.com/office/drawing/2014/main" id="{664EDA9A-7AFB-7A60-7776-2FFAB8174DAB}"/>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grpSp>
          <p:nvGrpSpPr>
            <p:cNvPr id="147" name="Group 146">
              <a:extLst>
                <a:ext uri="{FF2B5EF4-FFF2-40B4-BE49-F238E27FC236}">
                  <a16:creationId xmlns:a16="http://schemas.microsoft.com/office/drawing/2014/main" id="{A4689FD7-E13E-0536-4C76-0086DE77E2BD}"/>
                </a:ext>
              </a:extLst>
            </p:cNvPr>
            <p:cNvGrpSpPr/>
            <p:nvPr/>
          </p:nvGrpSpPr>
          <p:grpSpPr>
            <a:xfrm>
              <a:off x="5633553" y="2556810"/>
              <a:ext cx="378576" cy="477675"/>
              <a:chOff x="12378061" y="2899865"/>
              <a:chExt cx="378576" cy="477675"/>
            </a:xfrm>
          </p:grpSpPr>
          <p:sp>
            <p:nvSpPr>
              <p:cNvPr id="148" name="Rectangle 147">
                <a:extLst>
                  <a:ext uri="{FF2B5EF4-FFF2-40B4-BE49-F238E27FC236}">
                    <a16:creationId xmlns:a16="http://schemas.microsoft.com/office/drawing/2014/main" id="{D98938EE-EC45-0D64-A5E5-563620A6F539}"/>
                  </a:ext>
                </a:extLst>
              </p:cNvPr>
              <p:cNvSpPr/>
              <p:nvPr/>
            </p:nvSpPr>
            <p:spPr>
              <a:xfrm>
                <a:off x="12378061" y="2899865"/>
                <a:ext cx="378576" cy="4776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nvGrpSpPr>
              <p:cNvPr id="149" name="Group 336">
                <a:extLst>
                  <a:ext uri="{FF2B5EF4-FFF2-40B4-BE49-F238E27FC236}">
                    <a16:creationId xmlns:a16="http://schemas.microsoft.com/office/drawing/2014/main" id="{F5A2B0F1-1D71-F2EE-AEF0-F3F8F5511364}"/>
                  </a:ext>
                </a:extLst>
              </p:cNvPr>
              <p:cNvGrpSpPr>
                <a:grpSpLocks noChangeAspect="1"/>
              </p:cNvGrpSpPr>
              <p:nvPr/>
            </p:nvGrpSpPr>
            <p:grpSpPr bwMode="auto">
              <a:xfrm>
                <a:off x="12378061" y="2901471"/>
                <a:ext cx="363023" cy="447334"/>
                <a:chOff x="4312" y="1261"/>
                <a:chExt cx="156" cy="236"/>
              </a:xfrm>
              <a:solidFill>
                <a:schemeClr val="accent6"/>
              </a:solidFill>
            </p:grpSpPr>
            <p:sp>
              <p:nvSpPr>
                <p:cNvPr id="150" name="Freeform 338">
                  <a:extLst>
                    <a:ext uri="{FF2B5EF4-FFF2-40B4-BE49-F238E27FC236}">
                      <a16:creationId xmlns:a16="http://schemas.microsoft.com/office/drawing/2014/main" id="{CCE893AF-ECA2-3E9C-7820-811754422813}"/>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51" name="Freeform 339">
                  <a:extLst>
                    <a:ext uri="{FF2B5EF4-FFF2-40B4-BE49-F238E27FC236}">
                      <a16:creationId xmlns:a16="http://schemas.microsoft.com/office/drawing/2014/main" id="{E70B8B7E-F00E-F8DC-9D77-71E0349A06F4}"/>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52" name="Freeform 340">
                  <a:extLst>
                    <a:ext uri="{FF2B5EF4-FFF2-40B4-BE49-F238E27FC236}">
                      <a16:creationId xmlns:a16="http://schemas.microsoft.com/office/drawing/2014/main" id="{3BFBF986-5210-986A-8D49-473D2D0E187F}"/>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53" name="Freeform 341">
                  <a:extLst>
                    <a:ext uri="{FF2B5EF4-FFF2-40B4-BE49-F238E27FC236}">
                      <a16:creationId xmlns:a16="http://schemas.microsoft.com/office/drawing/2014/main" id="{260C764E-0AA6-F3EE-CB14-82AAAEA25CEF}"/>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54" name="Freeform 342">
                  <a:extLst>
                    <a:ext uri="{FF2B5EF4-FFF2-40B4-BE49-F238E27FC236}">
                      <a16:creationId xmlns:a16="http://schemas.microsoft.com/office/drawing/2014/main" id="{681E99C5-1C40-D59F-B2DA-3DB34CCA99A1}"/>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grpSp>
          <p:nvGrpSpPr>
            <p:cNvPr id="165" name="Group 164">
              <a:extLst>
                <a:ext uri="{FF2B5EF4-FFF2-40B4-BE49-F238E27FC236}">
                  <a16:creationId xmlns:a16="http://schemas.microsoft.com/office/drawing/2014/main" id="{4C9A1F4B-C0CA-88AA-11D9-E386BC901119}"/>
                </a:ext>
              </a:extLst>
            </p:cNvPr>
            <p:cNvGrpSpPr/>
            <p:nvPr/>
          </p:nvGrpSpPr>
          <p:grpSpPr>
            <a:xfrm>
              <a:off x="5899376" y="2755664"/>
              <a:ext cx="378576" cy="477675"/>
              <a:chOff x="12378061" y="2899865"/>
              <a:chExt cx="378576" cy="477675"/>
            </a:xfrm>
          </p:grpSpPr>
          <p:sp>
            <p:nvSpPr>
              <p:cNvPr id="186" name="Rectangle 185">
                <a:extLst>
                  <a:ext uri="{FF2B5EF4-FFF2-40B4-BE49-F238E27FC236}">
                    <a16:creationId xmlns:a16="http://schemas.microsoft.com/office/drawing/2014/main" id="{BB53C012-E98C-71A0-D6B7-3EC77E9A80B2}"/>
                  </a:ext>
                </a:extLst>
              </p:cNvPr>
              <p:cNvSpPr/>
              <p:nvPr/>
            </p:nvSpPr>
            <p:spPr>
              <a:xfrm>
                <a:off x="12378061" y="2899865"/>
                <a:ext cx="378576" cy="4776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nvGrpSpPr>
              <p:cNvPr id="188" name="Group 336">
                <a:extLst>
                  <a:ext uri="{FF2B5EF4-FFF2-40B4-BE49-F238E27FC236}">
                    <a16:creationId xmlns:a16="http://schemas.microsoft.com/office/drawing/2014/main" id="{2683D6D8-4D81-2B7B-090D-854E2E22165C}"/>
                  </a:ext>
                </a:extLst>
              </p:cNvPr>
              <p:cNvGrpSpPr>
                <a:grpSpLocks noChangeAspect="1"/>
              </p:cNvGrpSpPr>
              <p:nvPr/>
            </p:nvGrpSpPr>
            <p:grpSpPr bwMode="auto">
              <a:xfrm>
                <a:off x="12378061" y="2901471"/>
                <a:ext cx="363023" cy="447334"/>
                <a:chOff x="4312" y="1261"/>
                <a:chExt cx="156" cy="236"/>
              </a:xfrm>
              <a:solidFill>
                <a:schemeClr val="accent6"/>
              </a:solidFill>
            </p:grpSpPr>
            <p:sp>
              <p:nvSpPr>
                <p:cNvPr id="191" name="Freeform 338">
                  <a:extLst>
                    <a:ext uri="{FF2B5EF4-FFF2-40B4-BE49-F238E27FC236}">
                      <a16:creationId xmlns:a16="http://schemas.microsoft.com/office/drawing/2014/main" id="{C21B860B-BB4F-7A9D-119B-C44BA2B5A74D}"/>
                    </a:ext>
                  </a:extLst>
                </p:cNvPr>
                <p:cNvSpPr>
                  <a:spLocks noEditPoints="1"/>
                </p:cNvSpPr>
                <p:nvPr/>
              </p:nvSpPr>
              <p:spPr bwMode="auto">
                <a:xfrm>
                  <a:off x="4312" y="1261"/>
                  <a:ext cx="156" cy="236"/>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94" name="Freeform 339">
                  <a:extLst>
                    <a:ext uri="{FF2B5EF4-FFF2-40B4-BE49-F238E27FC236}">
                      <a16:creationId xmlns:a16="http://schemas.microsoft.com/office/drawing/2014/main" id="{60029CD7-BF79-25F3-EF55-946880181354}"/>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97" name="Freeform 340">
                  <a:extLst>
                    <a:ext uri="{FF2B5EF4-FFF2-40B4-BE49-F238E27FC236}">
                      <a16:creationId xmlns:a16="http://schemas.microsoft.com/office/drawing/2014/main" id="{5EDFCDDA-4D29-D5F0-A389-08D86D286F8A}"/>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98" name="Freeform 341">
                  <a:extLst>
                    <a:ext uri="{FF2B5EF4-FFF2-40B4-BE49-F238E27FC236}">
                      <a16:creationId xmlns:a16="http://schemas.microsoft.com/office/drawing/2014/main" id="{C30022DE-1AA4-1667-2B3B-FD89F53910DA}"/>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199" name="Freeform 342">
                  <a:extLst>
                    <a:ext uri="{FF2B5EF4-FFF2-40B4-BE49-F238E27FC236}">
                      <a16:creationId xmlns:a16="http://schemas.microsoft.com/office/drawing/2014/main" id="{28F651EF-383C-0231-4193-B7B62CF4D2B2}"/>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grpSp>
        <p:cxnSp>
          <p:nvCxnSpPr>
            <p:cNvPr id="202" name="Straight Connector 201">
              <a:extLst>
                <a:ext uri="{FF2B5EF4-FFF2-40B4-BE49-F238E27FC236}">
                  <a16:creationId xmlns:a16="http://schemas.microsoft.com/office/drawing/2014/main" id="{707BA98C-484C-138A-72E8-5F492B3F6E95}"/>
                </a:ext>
              </a:extLst>
            </p:cNvPr>
            <p:cNvCxnSpPr>
              <a:cxnSpLocks/>
              <a:endCxn id="139" idx="2"/>
            </p:cNvCxnSpPr>
            <p:nvPr/>
          </p:nvCxnSpPr>
          <p:spPr>
            <a:xfrm flipH="1" flipV="1">
              <a:off x="5194598" y="2263829"/>
              <a:ext cx="140306" cy="301381"/>
            </a:xfrm>
            <a:prstGeom prst="line">
              <a:avLst/>
            </a:prstGeom>
            <a:solidFill>
              <a:schemeClr val="tx1"/>
            </a:solidFill>
            <a:ln w="6350" algn="ctr">
              <a:solidFill>
                <a:schemeClr val="bg1">
                  <a:lumMod val="85000"/>
                </a:schemeClr>
              </a:solidFill>
              <a:prstDash val="dash"/>
              <a:miter lim="800000"/>
              <a:headEnd/>
              <a:tailEnd/>
            </a:ln>
          </p:spPr>
        </p:cxnSp>
        <p:cxnSp>
          <p:nvCxnSpPr>
            <p:cNvPr id="205" name="Straight Connector 204">
              <a:extLst>
                <a:ext uri="{FF2B5EF4-FFF2-40B4-BE49-F238E27FC236}">
                  <a16:creationId xmlns:a16="http://schemas.microsoft.com/office/drawing/2014/main" id="{FDA6746F-52BF-4CEA-E022-38C951967256}"/>
                </a:ext>
              </a:extLst>
            </p:cNvPr>
            <p:cNvCxnSpPr>
              <a:cxnSpLocks/>
              <a:endCxn id="141" idx="2"/>
            </p:cNvCxnSpPr>
            <p:nvPr/>
          </p:nvCxnSpPr>
          <p:spPr>
            <a:xfrm flipV="1">
              <a:off x="5789999" y="2220672"/>
              <a:ext cx="115042" cy="304867"/>
            </a:xfrm>
            <a:prstGeom prst="line">
              <a:avLst/>
            </a:prstGeom>
            <a:solidFill>
              <a:schemeClr val="tx1"/>
            </a:solidFill>
            <a:ln w="6350" algn="ctr">
              <a:solidFill>
                <a:schemeClr val="bg1">
                  <a:lumMod val="85000"/>
                </a:schemeClr>
              </a:solidFill>
              <a:prstDash val="dash"/>
              <a:miter lim="800000"/>
              <a:headEnd/>
              <a:tailEnd/>
            </a:ln>
          </p:spPr>
        </p:cxnSp>
        <p:cxnSp>
          <p:nvCxnSpPr>
            <p:cNvPr id="208" name="Straight Connector 207">
              <a:extLst>
                <a:ext uri="{FF2B5EF4-FFF2-40B4-BE49-F238E27FC236}">
                  <a16:creationId xmlns:a16="http://schemas.microsoft.com/office/drawing/2014/main" id="{2062DAD4-E8C2-C00F-497A-7AABC45B8335}"/>
                </a:ext>
              </a:extLst>
            </p:cNvPr>
            <p:cNvCxnSpPr>
              <a:cxnSpLocks/>
              <a:endCxn id="143" idx="2"/>
            </p:cNvCxnSpPr>
            <p:nvPr/>
          </p:nvCxnSpPr>
          <p:spPr>
            <a:xfrm flipV="1">
              <a:off x="6065689" y="2277592"/>
              <a:ext cx="537288" cy="468477"/>
            </a:xfrm>
            <a:prstGeom prst="line">
              <a:avLst/>
            </a:prstGeom>
            <a:solidFill>
              <a:schemeClr val="tx1"/>
            </a:solidFill>
            <a:ln w="6350" algn="ctr">
              <a:solidFill>
                <a:schemeClr val="bg1">
                  <a:lumMod val="85000"/>
                </a:schemeClr>
              </a:solidFill>
              <a:prstDash val="dash"/>
              <a:miter lim="800000"/>
              <a:headEnd/>
              <a:tailEnd/>
            </a:ln>
          </p:spPr>
        </p:cxnSp>
      </p:grpSp>
    </p:spTree>
    <p:extLst>
      <p:ext uri="{BB962C8B-B14F-4D97-AF65-F5344CB8AC3E}">
        <p14:creationId xmlns:p14="http://schemas.microsoft.com/office/powerpoint/2010/main" val="3186028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2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2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2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24"/>
                                        </p:tgtEl>
                                        <p:attrNameLst>
                                          <p:attrName>style.visibility</p:attrName>
                                        </p:attrNameLst>
                                      </p:cBhvr>
                                      <p:to>
                                        <p:strVal val="visible"/>
                                      </p:to>
                                    </p:set>
                                  </p:childTnLst>
                                </p:cTn>
                              </p:par>
                              <p:par>
                                <p:cTn id="51" presetID="1" presetClass="entr" presetSubtype="0" fill="hold" grpId="1" nodeType="withEffect">
                                  <p:stCondLst>
                                    <p:cond delay="0"/>
                                  </p:stCondLst>
                                  <p:childTnLst>
                                    <p:set>
                                      <p:cBhvr>
                                        <p:cTn id="52" dur="1" fill="hold">
                                          <p:stCondLst>
                                            <p:cond delay="0"/>
                                          </p:stCondLst>
                                        </p:cTn>
                                        <p:tgtEl>
                                          <p:spTgt spid="5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5"/>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9" grpId="0" animBg="1"/>
      <p:bldP spid="14" grpId="0" animBg="1"/>
      <p:bldP spid="15" grpId="0"/>
      <p:bldP spid="55" grpId="0"/>
      <p:bldP spid="56" grpId="0"/>
      <p:bldP spid="56" grpId="1"/>
      <p:bldP spid="58" grpId="0"/>
      <p:bldP spid="81" grpId="0"/>
      <p:bldP spid="122" grpId="0"/>
      <p:bldP spid="123" grpId="0"/>
      <p:bldP spid="124" grpId="0"/>
      <p:bldP spid="125" grpId="0" animBg="1"/>
      <p:bldP spid="126" grpId="0"/>
      <p:bldP spid="163" grpId="0"/>
      <p:bldP spid="189" grpId="0"/>
      <p:bldP spid="19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505F85-3D42-0670-6F18-AA1B31AFA62D}"/>
              </a:ext>
            </a:extLst>
          </p:cNvPr>
          <p:cNvSpPr txBox="1"/>
          <p:nvPr/>
        </p:nvSpPr>
        <p:spPr>
          <a:xfrm>
            <a:off x="430550" y="323577"/>
            <a:ext cx="7248633" cy="461665"/>
          </a:xfrm>
          <a:prstGeom prst="rect">
            <a:avLst/>
          </a:prstGeom>
          <a:noFill/>
        </p:spPr>
        <p:txBody>
          <a:bodyPr wrap="square" rtlCol="0">
            <a:spAutoFit/>
          </a:bodyPr>
          <a:lstStyle/>
          <a:p>
            <a:r>
              <a:rPr lang="en-NZ" sz="2400" dirty="0">
                <a:solidFill>
                  <a:schemeClr val="bg1"/>
                </a:solidFill>
              </a:rPr>
              <a:t>Remediation</a:t>
            </a:r>
          </a:p>
        </p:txBody>
      </p:sp>
      <p:sp>
        <p:nvSpPr>
          <p:cNvPr id="2" name="Rectangle 1">
            <a:extLst>
              <a:ext uri="{FF2B5EF4-FFF2-40B4-BE49-F238E27FC236}">
                <a16:creationId xmlns:a16="http://schemas.microsoft.com/office/drawing/2014/main" id="{00AC7B0A-C8D3-6C4F-4BC1-6E04EF360D87}"/>
              </a:ext>
            </a:extLst>
          </p:cNvPr>
          <p:cNvSpPr/>
          <p:nvPr/>
        </p:nvSpPr>
        <p:spPr>
          <a:xfrm>
            <a:off x="430549" y="788064"/>
            <a:ext cx="5430423" cy="328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r>
              <a:rPr lang="en-NZ" dirty="0">
                <a:solidFill>
                  <a:schemeClr val="bg1">
                    <a:lumMod val="85000"/>
                  </a:schemeClr>
                </a:solidFill>
              </a:rPr>
              <a:t>Design remediation methodology and action the plan</a:t>
            </a:r>
          </a:p>
        </p:txBody>
      </p:sp>
      <p:sp>
        <p:nvSpPr>
          <p:cNvPr id="50" name="TextBox 49">
            <a:extLst>
              <a:ext uri="{FF2B5EF4-FFF2-40B4-BE49-F238E27FC236}">
                <a16:creationId xmlns:a16="http://schemas.microsoft.com/office/drawing/2014/main" id="{0F014CE1-429B-03C7-7828-010A206B10B0}"/>
              </a:ext>
            </a:extLst>
          </p:cNvPr>
          <p:cNvSpPr txBox="1"/>
          <p:nvPr/>
        </p:nvSpPr>
        <p:spPr>
          <a:xfrm>
            <a:off x="5293064" y="2601818"/>
            <a:ext cx="1918423" cy="738664"/>
          </a:xfrm>
          <a:prstGeom prst="rect">
            <a:avLst/>
          </a:prstGeom>
          <a:noFill/>
        </p:spPr>
        <p:txBody>
          <a:bodyPr wrap="square" lIns="0" tIns="0" rIns="0" bIns="0" rtlCol="0">
            <a:spAutoFit/>
          </a:bodyPr>
          <a:lstStyle/>
          <a:p>
            <a:pPr algn="ctr">
              <a:spcBef>
                <a:spcPts val="600"/>
              </a:spcBef>
              <a:buSzPct val="100000"/>
            </a:pPr>
            <a:r>
              <a:rPr lang="en-GB" sz="1600" dirty="0">
                <a:solidFill>
                  <a:schemeClr val="bg1"/>
                </a:solidFill>
              </a:rPr>
              <a:t>Explainable and defendable methodology</a:t>
            </a:r>
          </a:p>
        </p:txBody>
      </p:sp>
      <p:sp>
        <p:nvSpPr>
          <p:cNvPr id="5" name="TextBox 4">
            <a:extLst>
              <a:ext uri="{FF2B5EF4-FFF2-40B4-BE49-F238E27FC236}">
                <a16:creationId xmlns:a16="http://schemas.microsoft.com/office/drawing/2014/main" id="{AA82B9AC-0FC3-682F-5CBC-8A61B56C5E8D}"/>
              </a:ext>
            </a:extLst>
          </p:cNvPr>
          <p:cNvSpPr txBox="1"/>
          <p:nvPr/>
        </p:nvSpPr>
        <p:spPr>
          <a:xfrm>
            <a:off x="1470865" y="2588492"/>
            <a:ext cx="1918423" cy="815608"/>
          </a:xfrm>
          <a:prstGeom prst="rect">
            <a:avLst/>
          </a:prstGeom>
          <a:noFill/>
        </p:spPr>
        <p:txBody>
          <a:bodyPr wrap="square" lIns="0" tIns="0" rIns="0" bIns="0" rtlCol="0">
            <a:spAutoFit/>
          </a:bodyPr>
          <a:lstStyle/>
          <a:p>
            <a:pPr algn="ctr">
              <a:spcBef>
                <a:spcPts val="600"/>
              </a:spcBef>
              <a:buSzPct val="100000"/>
            </a:pPr>
            <a:r>
              <a:rPr lang="en-GB" sz="1600" dirty="0">
                <a:solidFill>
                  <a:schemeClr val="bg1"/>
                </a:solidFill>
              </a:rPr>
              <a:t>Clear timeframe and means of executing</a:t>
            </a:r>
          </a:p>
          <a:p>
            <a:pPr algn="ctr">
              <a:spcBef>
                <a:spcPts val="600"/>
              </a:spcBef>
              <a:buSzPct val="100000"/>
            </a:pPr>
            <a:r>
              <a:rPr lang="en-GB" sz="1600" dirty="0">
                <a:solidFill>
                  <a:schemeClr val="bg1"/>
                </a:solidFill>
              </a:rPr>
              <a:t>(Project Management)</a:t>
            </a:r>
          </a:p>
        </p:txBody>
      </p:sp>
      <p:pic>
        <p:nvPicPr>
          <p:cNvPr id="11" name="Graphic 10" descr="Clock outline">
            <a:extLst>
              <a:ext uri="{FF2B5EF4-FFF2-40B4-BE49-F238E27FC236}">
                <a16:creationId xmlns:a16="http://schemas.microsoft.com/office/drawing/2014/main" id="{12515431-AA12-D804-09EE-D495EE618B6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49000" y="1583736"/>
            <a:ext cx="914400" cy="914400"/>
          </a:xfrm>
          <a:prstGeom prst="rect">
            <a:avLst/>
          </a:prstGeom>
        </p:spPr>
      </p:pic>
      <p:sp>
        <p:nvSpPr>
          <p:cNvPr id="47" name="TextBox 46">
            <a:extLst>
              <a:ext uri="{FF2B5EF4-FFF2-40B4-BE49-F238E27FC236}">
                <a16:creationId xmlns:a16="http://schemas.microsoft.com/office/drawing/2014/main" id="{0EAEBB90-698D-D535-4BB3-BF0C88379341}"/>
              </a:ext>
            </a:extLst>
          </p:cNvPr>
          <p:cNvSpPr txBox="1"/>
          <p:nvPr/>
        </p:nvSpPr>
        <p:spPr>
          <a:xfrm>
            <a:off x="8880652" y="2665436"/>
            <a:ext cx="1918423" cy="738664"/>
          </a:xfrm>
          <a:prstGeom prst="rect">
            <a:avLst/>
          </a:prstGeom>
          <a:noFill/>
        </p:spPr>
        <p:txBody>
          <a:bodyPr wrap="square" lIns="0" tIns="0" rIns="0" bIns="0" rtlCol="0">
            <a:spAutoFit/>
          </a:bodyPr>
          <a:lstStyle/>
          <a:p>
            <a:pPr algn="ctr">
              <a:spcBef>
                <a:spcPts val="600"/>
              </a:spcBef>
              <a:buSzPct val="100000"/>
            </a:pPr>
            <a:r>
              <a:rPr lang="en-GB" sz="1600" dirty="0">
                <a:solidFill>
                  <a:schemeClr val="bg1"/>
                </a:solidFill>
              </a:rPr>
              <a:t>Choreographing to make most from investment </a:t>
            </a:r>
          </a:p>
        </p:txBody>
      </p:sp>
      <p:grpSp>
        <p:nvGrpSpPr>
          <p:cNvPr id="30" name="Group 29">
            <a:extLst>
              <a:ext uri="{FF2B5EF4-FFF2-40B4-BE49-F238E27FC236}">
                <a16:creationId xmlns:a16="http://schemas.microsoft.com/office/drawing/2014/main" id="{FEEC1F17-C0EA-21C7-8265-2E81EE6968B7}"/>
              </a:ext>
            </a:extLst>
          </p:cNvPr>
          <p:cNvGrpSpPr/>
          <p:nvPr/>
        </p:nvGrpSpPr>
        <p:grpSpPr>
          <a:xfrm>
            <a:off x="3546235" y="3839666"/>
            <a:ext cx="5099530" cy="1691416"/>
            <a:chOff x="2951792" y="2044631"/>
            <a:chExt cx="6125834" cy="2416234"/>
          </a:xfrm>
        </p:grpSpPr>
        <p:sp>
          <p:nvSpPr>
            <p:cNvPr id="31" name="Freeform 6">
              <a:extLst>
                <a:ext uri="{FF2B5EF4-FFF2-40B4-BE49-F238E27FC236}">
                  <a16:creationId xmlns:a16="http://schemas.microsoft.com/office/drawing/2014/main" id="{22FB182F-2BA1-D6EC-BD01-4D6743887B3C}"/>
                </a:ext>
              </a:extLst>
            </p:cNvPr>
            <p:cNvSpPr>
              <a:spLocks noEditPoints="1"/>
            </p:cNvSpPr>
            <p:nvPr/>
          </p:nvSpPr>
          <p:spPr bwMode="auto">
            <a:xfrm>
              <a:off x="4607608" y="2939036"/>
              <a:ext cx="651539" cy="1521829"/>
            </a:xfrm>
            <a:custGeom>
              <a:avLst/>
              <a:gdLst>
                <a:gd name="T0" fmla="*/ 0 w 761"/>
                <a:gd name="T1" fmla="*/ 191 h 2389"/>
                <a:gd name="T2" fmla="*/ 507 w 761"/>
                <a:gd name="T3" fmla="*/ 191 h 2389"/>
                <a:gd name="T4" fmla="*/ 666 w 761"/>
                <a:gd name="T5" fmla="*/ 561 h 2389"/>
                <a:gd name="T6" fmla="*/ 666 w 761"/>
                <a:gd name="T7" fmla="*/ 761 h 2389"/>
                <a:gd name="T8" fmla="*/ 571 w 761"/>
                <a:gd name="T9" fmla="*/ 920 h 2389"/>
                <a:gd name="T10" fmla="*/ 571 w 761"/>
                <a:gd name="T11" fmla="*/ 920 h 2389"/>
                <a:gd name="T12" fmla="*/ 571 w 761"/>
                <a:gd name="T13" fmla="*/ 1174 h 2389"/>
                <a:gd name="T14" fmla="*/ 666 w 761"/>
                <a:gd name="T15" fmla="*/ 1332 h 2389"/>
                <a:gd name="T16" fmla="*/ 666 w 761"/>
                <a:gd name="T17" fmla="*/ 1374 h 2389"/>
                <a:gd name="T18" fmla="*/ 571 w 761"/>
                <a:gd name="T19" fmla="*/ 1533 h 2389"/>
                <a:gd name="T20" fmla="*/ 571 w 761"/>
                <a:gd name="T21" fmla="*/ 1533 h 2389"/>
                <a:gd name="T22" fmla="*/ 571 w 761"/>
                <a:gd name="T23" fmla="*/ 1797 h 2389"/>
                <a:gd name="T24" fmla="*/ 666 w 761"/>
                <a:gd name="T25" fmla="*/ 2104 h 2389"/>
                <a:gd name="T26" fmla="*/ 74 w 761"/>
                <a:gd name="T27" fmla="*/ 2104 h 2389"/>
                <a:gd name="T28" fmla="*/ 190 w 761"/>
                <a:gd name="T29" fmla="*/ 1956 h 2389"/>
                <a:gd name="T30" fmla="*/ 190 w 761"/>
                <a:gd name="T31" fmla="*/ 1956 h 2389"/>
                <a:gd name="T32" fmla="*/ 190 w 761"/>
                <a:gd name="T33" fmla="*/ 1533 h 2389"/>
                <a:gd name="T34" fmla="*/ 74 w 761"/>
                <a:gd name="T35" fmla="*/ 1374 h 2389"/>
                <a:gd name="T36" fmla="*/ 74 w 761"/>
                <a:gd name="T37" fmla="*/ 1332 h 2389"/>
                <a:gd name="T38" fmla="*/ 190 w 761"/>
                <a:gd name="T39" fmla="*/ 1174 h 2389"/>
                <a:gd name="T40" fmla="*/ 190 w 761"/>
                <a:gd name="T41" fmla="*/ 1174 h 2389"/>
                <a:gd name="T42" fmla="*/ 190 w 761"/>
                <a:gd name="T43" fmla="*/ 761 h 2389"/>
                <a:gd name="T44" fmla="*/ 74 w 761"/>
                <a:gd name="T45" fmla="*/ 603 h 2389"/>
                <a:gd name="T46" fmla="*/ 74 w 761"/>
                <a:gd name="T47" fmla="*/ 561 h 2389"/>
                <a:gd name="T48" fmla="*/ 338 w 761"/>
                <a:gd name="T49" fmla="*/ 1956 h 2389"/>
                <a:gd name="T50" fmla="*/ 338 w 761"/>
                <a:gd name="T51" fmla="*/ 1956 h 2389"/>
                <a:gd name="T52" fmla="*/ 338 w 761"/>
                <a:gd name="T53" fmla="*/ 1691 h 2389"/>
                <a:gd name="T54" fmla="*/ 254 w 761"/>
                <a:gd name="T55" fmla="*/ 1533 h 2389"/>
                <a:gd name="T56" fmla="*/ 254 w 761"/>
                <a:gd name="T57" fmla="*/ 1491 h 2389"/>
                <a:gd name="T58" fmla="*/ 338 w 761"/>
                <a:gd name="T59" fmla="*/ 1332 h 2389"/>
                <a:gd name="T60" fmla="*/ 338 w 761"/>
                <a:gd name="T61" fmla="*/ 1332 h 2389"/>
                <a:gd name="T62" fmla="*/ 338 w 761"/>
                <a:gd name="T63" fmla="*/ 1068 h 2389"/>
                <a:gd name="T64" fmla="*/ 254 w 761"/>
                <a:gd name="T65" fmla="*/ 920 h 2389"/>
                <a:gd name="T66" fmla="*/ 254 w 761"/>
                <a:gd name="T67" fmla="*/ 867 h 2389"/>
                <a:gd name="T68" fmla="*/ 338 w 761"/>
                <a:gd name="T69" fmla="*/ 561 h 2389"/>
                <a:gd name="T70" fmla="*/ 338 w 761"/>
                <a:gd name="T71" fmla="*/ 561 h 2389"/>
                <a:gd name="T72" fmla="*/ 507 w 761"/>
                <a:gd name="T73" fmla="*/ 1998 h 2389"/>
                <a:gd name="T74" fmla="*/ 423 w 761"/>
                <a:gd name="T75" fmla="*/ 1839 h 2389"/>
                <a:gd name="T76" fmla="*/ 423 w 761"/>
                <a:gd name="T77" fmla="*/ 1797 h 2389"/>
                <a:gd name="T78" fmla="*/ 507 w 761"/>
                <a:gd name="T79" fmla="*/ 1639 h 2389"/>
                <a:gd name="T80" fmla="*/ 507 w 761"/>
                <a:gd name="T81" fmla="*/ 1639 h 2389"/>
                <a:gd name="T82" fmla="*/ 507 w 761"/>
                <a:gd name="T83" fmla="*/ 1226 h 2389"/>
                <a:gd name="T84" fmla="*/ 423 w 761"/>
                <a:gd name="T85" fmla="*/ 1068 h 2389"/>
                <a:gd name="T86" fmla="*/ 423 w 761"/>
                <a:gd name="T87" fmla="*/ 1026 h 2389"/>
                <a:gd name="T88" fmla="*/ 507 w 761"/>
                <a:gd name="T89" fmla="*/ 867 h 2389"/>
                <a:gd name="T90" fmla="*/ 507 w 761"/>
                <a:gd name="T91" fmla="*/ 867 h 2389"/>
                <a:gd name="T92" fmla="*/ 507 w 761"/>
                <a:gd name="T93" fmla="*/ 603 h 2389"/>
                <a:gd name="T94" fmla="*/ 423 w 761"/>
                <a:gd name="T95" fmla="*/ 455 h 2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1" h="2389">
                  <a:moveTo>
                    <a:pt x="507" y="0"/>
                  </a:moveTo>
                  <a:lnTo>
                    <a:pt x="74" y="0"/>
                  </a:lnTo>
                  <a:lnTo>
                    <a:pt x="74" y="191"/>
                  </a:lnTo>
                  <a:lnTo>
                    <a:pt x="0" y="191"/>
                  </a:lnTo>
                  <a:lnTo>
                    <a:pt x="0" y="2389"/>
                  </a:lnTo>
                  <a:lnTo>
                    <a:pt x="761" y="2389"/>
                  </a:lnTo>
                  <a:lnTo>
                    <a:pt x="761" y="191"/>
                  </a:lnTo>
                  <a:lnTo>
                    <a:pt x="507" y="191"/>
                  </a:lnTo>
                  <a:lnTo>
                    <a:pt x="507" y="0"/>
                  </a:lnTo>
                  <a:close/>
                  <a:moveTo>
                    <a:pt x="571" y="455"/>
                  </a:moveTo>
                  <a:lnTo>
                    <a:pt x="666" y="455"/>
                  </a:lnTo>
                  <a:lnTo>
                    <a:pt x="666" y="561"/>
                  </a:lnTo>
                  <a:lnTo>
                    <a:pt x="571" y="561"/>
                  </a:lnTo>
                  <a:lnTo>
                    <a:pt x="571" y="455"/>
                  </a:lnTo>
                  <a:close/>
                  <a:moveTo>
                    <a:pt x="571" y="761"/>
                  </a:moveTo>
                  <a:lnTo>
                    <a:pt x="666" y="761"/>
                  </a:lnTo>
                  <a:lnTo>
                    <a:pt x="666" y="867"/>
                  </a:lnTo>
                  <a:lnTo>
                    <a:pt x="571" y="867"/>
                  </a:lnTo>
                  <a:lnTo>
                    <a:pt x="571" y="761"/>
                  </a:lnTo>
                  <a:close/>
                  <a:moveTo>
                    <a:pt x="571" y="920"/>
                  </a:moveTo>
                  <a:lnTo>
                    <a:pt x="666" y="920"/>
                  </a:lnTo>
                  <a:lnTo>
                    <a:pt x="666" y="1026"/>
                  </a:lnTo>
                  <a:lnTo>
                    <a:pt x="571" y="1026"/>
                  </a:lnTo>
                  <a:lnTo>
                    <a:pt x="571" y="920"/>
                  </a:lnTo>
                  <a:close/>
                  <a:moveTo>
                    <a:pt x="571" y="1068"/>
                  </a:moveTo>
                  <a:lnTo>
                    <a:pt x="666" y="1068"/>
                  </a:lnTo>
                  <a:lnTo>
                    <a:pt x="666" y="1174"/>
                  </a:lnTo>
                  <a:lnTo>
                    <a:pt x="571" y="1174"/>
                  </a:lnTo>
                  <a:lnTo>
                    <a:pt x="571" y="1068"/>
                  </a:lnTo>
                  <a:close/>
                  <a:moveTo>
                    <a:pt x="571" y="1226"/>
                  </a:moveTo>
                  <a:lnTo>
                    <a:pt x="666" y="1226"/>
                  </a:lnTo>
                  <a:lnTo>
                    <a:pt x="666" y="1332"/>
                  </a:lnTo>
                  <a:lnTo>
                    <a:pt x="571" y="1332"/>
                  </a:lnTo>
                  <a:lnTo>
                    <a:pt x="571" y="1226"/>
                  </a:lnTo>
                  <a:close/>
                  <a:moveTo>
                    <a:pt x="571" y="1374"/>
                  </a:moveTo>
                  <a:lnTo>
                    <a:pt x="666" y="1374"/>
                  </a:lnTo>
                  <a:lnTo>
                    <a:pt x="666" y="1491"/>
                  </a:lnTo>
                  <a:lnTo>
                    <a:pt x="571" y="1491"/>
                  </a:lnTo>
                  <a:lnTo>
                    <a:pt x="571" y="1374"/>
                  </a:lnTo>
                  <a:close/>
                  <a:moveTo>
                    <a:pt x="571" y="1533"/>
                  </a:moveTo>
                  <a:lnTo>
                    <a:pt x="666" y="1533"/>
                  </a:lnTo>
                  <a:lnTo>
                    <a:pt x="666" y="1639"/>
                  </a:lnTo>
                  <a:lnTo>
                    <a:pt x="571" y="1639"/>
                  </a:lnTo>
                  <a:lnTo>
                    <a:pt x="571" y="1533"/>
                  </a:lnTo>
                  <a:close/>
                  <a:moveTo>
                    <a:pt x="571" y="1691"/>
                  </a:moveTo>
                  <a:lnTo>
                    <a:pt x="666" y="1691"/>
                  </a:lnTo>
                  <a:lnTo>
                    <a:pt x="666" y="1797"/>
                  </a:lnTo>
                  <a:lnTo>
                    <a:pt x="571" y="1797"/>
                  </a:lnTo>
                  <a:lnTo>
                    <a:pt x="571" y="1691"/>
                  </a:lnTo>
                  <a:close/>
                  <a:moveTo>
                    <a:pt x="571" y="1998"/>
                  </a:moveTo>
                  <a:lnTo>
                    <a:pt x="666" y="1998"/>
                  </a:lnTo>
                  <a:lnTo>
                    <a:pt x="666" y="2104"/>
                  </a:lnTo>
                  <a:lnTo>
                    <a:pt x="571" y="2104"/>
                  </a:lnTo>
                  <a:lnTo>
                    <a:pt x="571" y="1998"/>
                  </a:lnTo>
                  <a:close/>
                  <a:moveTo>
                    <a:pt x="190" y="2104"/>
                  </a:moveTo>
                  <a:lnTo>
                    <a:pt x="74" y="2104"/>
                  </a:lnTo>
                  <a:lnTo>
                    <a:pt x="74" y="1998"/>
                  </a:lnTo>
                  <a:lnTo>
                    <a:pt x="190" y="1998"/>
                  </a:lnTo>
                  <a:lnTo>
                    <a:pt x="190" y="2104"/>
                  </a:lnTo>
                  <a:close/>
                  <a:moveTo>
                    <a:pt x="190" y="1956"/>
                  </a:moveTo>
                  <a:lnTo>
                    <a:pt x="74" y="1956"/>
                  </a:lnTo>
                  <a:lnTo>
                    <a:pt x="74" y="1839"/>
                  </a:lnTo>
                  <a:lnTo>
                    <a:pt x="190" y="1839"/>
                  </a:lnTo>
                  <a:lnTo>
                    <a:pt x="190" y="1956"/>
                  </a:lnTo>
                  <a:close/>
                  <a:moveTo>
                    <a:pt x="190" y="1639"/>
                  </a:moveTo>
                  <a:lnTo>
                    <a:pt x="74" y="1639"/>
                  </a:lnTo>
                  <a:lnTo>
                    <a:pt x="74" y="1533"/>
                  </a:lnTo>
                  <a:lnTo>
                    <a:pt x="190" y="1533"/>
                  </a:lnTo>
                  <a:lnTo>
                    <a:pt x="190" y="1639"/>
                  </a:lnTo>
                  <a:close/>
                  <a:moveTo>
                    <a:pt x="190" y="1491"/>
                  </a:moveTo>
                  <a:lnTo>
                    <a:pt x="74" y="1491"/>
                  </a:lnTo>
                  <a:lnTo>
                    <a:pt x="74" y="1374"/>
                  </a:lnTo>
                  <a:lnTo>
                    <a:pt x="190" y="1374"/>
                  </a:lnTo>
                  <a:lnTo>
                    <a:pt x="190" y="1491"/>
                  </a:lnTo>
                  <a:close/>
                  <a:moveTo>
                    <a:pt x="190" y="1332"/>
                  </a:moveTo>
                  <a:lnTo>
                    <a:pt x="74" y="1332"/>
                  </a:lnTo>
                  <a:lnTo>
                    <a:pt x="74" y="1226"/>
                  </a:lnTo>
                  <a:lnTo>
                    <a:pt x="190" y="1226"/>
                  </a:lnTo>
                  <a:lnTo>
                    <a:pt x="190" y="1332"/>
                  </a:lnTo>
                  <a:close/>
                  <a:moveTo>
                    <a:pt x="190" y="1174"/>
                  </a:moveTo>
                  <a:lnTo>
                    <a:pt x="74" y="1174"/>
                  </a:lnTo>
                  <a:lnTo>
                    <a:pt x="74" y="1068"/>
                  </a:lnTo>
                  <a:lnTo>
                    <a:pt x="190" y="1068"/>
                  </a:lnTo>
                  <a:lnTo>
                    <a:pt x="190" y="1174"/>
                  </a:lnTo>
                  <a:close/>
                  <a:moveTo>
                    <a:pt x="190" y="867"/>
                  </a:moveTo>
                  <a:lnTo>
                    <a:pt x="74" y="867"/>
                  </a:lnTo>
                  <a:lnTo>
                    <a:pt x="74" y="761"/>
                  </a:lnTo>
                  <a:lnTo>
                    <a:pt x="190" y="761"/>
                  </a:lnTo>
                  <a:lnTo>
                    <a:pt x="190" y="867"/>
                  </a:lnTo>
                  <a:close/>
                  <a:moveTo>
                    <a:pt x="190" y="719"/>
                  </a:moveTo>
                  <a:lnTo>
                    <a:pt x="74" y="719"/>
                  </a:lnTo>
                  <a:lnTo>
                    <a:pt x="74" y="603"/>
                  </a:lnTo>
                  <a:lnTo>
                    <a:pt x="190" y="603"/>
                  </a:lnTo>
                  <a:lnTo>
                    <a:pt x="190" y="719"/>
                  </a:lnTo>
                  <a:close/>
                  <a:moveTo>
                    <a:pt x="190" y="561"/>
                  </a:moveTo>
                  <a:lnTo>
                    <a:pt x="74" y="561"/>
                  </a:lnTo>
                  <a:lnTo>
                    <a:pt x="74" y="455"/>
                  </a:lnTo>
                  <a:lnTo>
                    <a:pt x="190" y="455"/>
                  </a:lnTo>
                  <a:lnTo>
                    <a:pt x="190" y="561"/>
                  </a:lnTo>
                  <a:close/>
                  <a:moveTo>
                    <a:pt x="338" y="1956"/>
                  </a:moveTo>
                  <a:lnTo>
                    <a:pt x="254" y="1956"/>
                  </a:lnTo>
                  <a:lnTo>
                    <a:pt x="254" y="1839"/>
                  </a:lnTo>
                  <a:lnTo>
                    <a:pt x="338" y="1839"/>
                  </a:lnTo>
                  <a:lnTo>
                    <a:pt x="338" y="1956"/>
                  </a:lnTo>
                  <a:close/>
                  <a:moveTo>
                    <a:pt x="338" y="1797"/>
                  </a:moveTo>
                  <a:lnTo>
                    <a:pt x="254" y="1797"/>
                  </a:lnTo>
                  <a:lnTo>
                    <a:pt x="254" y="1691"/>
                  </a:lnTo>
                  <a:lnTo>
                    <a:pt x="338" y="1691"/>
                  </a:lnTo>
                  <a:lnTo>
                    <a:pt x="338" y="1797"/>
                  </a:lnTo>
                  <a:close/>
                  <a:moveTo>
                    <a:pt x="338" y="1639"/>
                  </a:moveTo>
                  <a:lnTo>
                    <a:pt x="254" y="1639"/>
                  </a:lnTo>
                  <a:lnTo>
                    <a:pt x="254" y="1533"/>
                  </a:lnTo>
                  <a:lnTo>
                    <a:pt x="338" y="1533"/>
                  </a:lnTo>
                  <a:lnTo>
                    <a:pt x="338" y="1639"/>
                  </a:lnTo>
                  <a:close/>
                  <a:moveTo>
                    <a:pt x="338" y="1491"/>
                  </a:moveTo>
                  <a:lnTo>
                    <a:pt x="254" y="1491"/>
                  </a:lnTo>
                  <a:lnTo>
                    <a:pt x="254" y="1374"/>
                  </a:lnTo>
                  <a:lnTo>
                    <a:pt x="338" y="1374"/>
                  </a:lnTo>
                  <a:lnTo>
                    <a:pt x="338" y="1491"/>
                  </a:lnTo>
                  <a:close/>
                  <a:moveTo>
                    <a:pt x="338" y="1332"/>
                  </a:moveTo>
                  <a:lnTo>
                    <a:pt x="254" y="1332"/>
                  </a:lnTo>
                  <a:lnTo>
                    <a:pt x="254" y="1226"/>
                  </a:lnTo>
                  <a:lnTo>
                    <a:pt x="338" y="1226"/>
                  </a:lnTo>
                  <a:lnTo>
                    <a:pt x="338" y="1332"/>
                  </a:lnTo>
                  <a:close/>
                  <a:moveTo>
                    <a:pt x="338" y="1174"/>
                  </a:moveTo>
                  <a:lnTo>
                    <a:pt x="254" y="1174"/>
                  </a:lnTo>
                  <a:lnTo>
                    <a:pt x="254" y="1068"/>
                  </a:lnTo>
                  <a:lnTo>
                    <a:pt x="338" y="1068"/>
                  </a:lnTo>
                  <a:lnTo>
                    <a:pt x="338" y="1174"/>
                  </a:lnTo>
                  <a:close/>
                  <a:moveTo>
                    <a:pt x="338" y="1026"/>
                  </a:moveTo>
                  <a:lnTo>
                    <a:pt x="254" y="1026"/>
                  </a:lnTo>
                  <a:lnTo>
                    <a:pt x="254" y="920"/>
                  </a:lnTo>
                  <a:lnTo>
                    <a:pt x="338" y="920"/>
                  </a:lnTo>
                  <a:lnTo>
                    <a:pt x="338" y="1026"/>
                  </a:lnTo>
                  <a:close/>
                  <a:moveTo>
                    <a:pt x="338" y="867"/>
                  </a:moveTo>
                  <a:lnTo>
                    <a:pt x="254" y="867"/>
                  </a:lnTo>
                  <a:lnTo>
                    <a:pt x="254" y="761"/>
                  </a:lnTo>
                  <a:lnTo>
                    <a:pt x="338" y="761"/>
                  </a:lnTo>
                  <a:lnTo>
                    <a:pt x="338" y="867"/>
                  </a:lnTo>
                  <a:close/>
                  <a:moveTo>
                    <a:pt x="338" y="561"/>
                  </a:moveTo>
                  <a:lnTo>
                    <a:pt x="254" y="561"/>
                  </a:lnTo>
                  <a:lnTo>
                    <a:pt x="254" y="455"/>
                  </a:lnTo>
                  <a:lnTo>
                    <a:pt x="338" y="455"/>
                  </a:lnTo>
                  <a:lnTo>
                    <a:pt x="338" y="561"/>
                  </a:lnTo>
                  <a:close/>
                  <a:moveTo>
                    <a:pt x="507" y="2104"/>
                  </a:moveTo>
                  <a:lnTo>
                    <a:pt x="423" y="2104"/>
                  </a:lnTo>
                  <a:lnTo>
                    <a:pt x="423" y="1998"/>
                  </a:lnTo>
                  <a:lnTo>
                    <a:pt x="507" y="1998"/>
                  </a:lnTo>
                  <a:lnTo>
                    <a:pt x="507" y="2104"/>
                  </a:lnTo>
                  <a:close/>
                  <a:moveTo>
                    <a:pt x="507" y="1956"/>
                  </a:moveTo>
                  <a:lnTo>
                    <a:pt x="423" y="1956"/>
                  </a:lnTo>
                  <a:lnTo>
                    <a:pt x="423" y="1839"/>
                  </a:lnTo>
                  <a:lnTo>
                    <a:pt x="507" y="1839"/>
                  </a:lnTo>
                  <a:lnTo>
                    <a:pt x="507" y="1956"/>
                  </a:lnTo>
                  <a:close/>
                  <a:moveTo>
                    <a:pt x="507" y="1797"/>
                  </a:moveTo>
                  <a:lnTo>
                    <a:pt x="423" y="1797"/>
                  </a:lnTo>
                  <a:lnTo>
                    <a:pt x="423" y="1691"/>
                  </a:lnTo>
                  <a:lnTo>
                    <a:pt x="507" y="1691"/>
                  </a:lnTo>
                  <a:lnTo>
                    <a:pt x="507" y="1797"/>
                  </a:lnTo>
                  <a:close/>
                  <a:moveTo>
                    <a:pt x="507" y="1639"/>
                  </a:moveTo>
                  <a:lnTo>
                    <a:pt x="423" y="1639"/>
                  </a:lnTo>
                  <a:lnTo>
                    <a:pt x="423" y="1533"/>
                  </a:lnTo>
                  <a:lnTo>
                    <a:pt x="507" y="1533"/>
                  </a:lnTo>
                  <a:lnTo>
                    <a:pt x="507" y="1639"/>
                  </a:lnTo>
                  <a:close/>
                  <a:moveTo>
                    <a:pt x="507" y="1332"/>
                  </a:moveTo>
                  <a:lnTo>
                    <a:pt x="423" y="1332"/>
                  </a:lnTo>
                  <a:lnTo>
                    <a:pt x="423" y="1226"/>
                  </a:lnTo>
                  <a:lnTo>
                    <a:pt x="507" y="1226"/>
                  </a:lnTo>
                  <a:lnTo>
                    <a:pt x="507" y="1332"/>
                  </a:lnTo>
                  <a:close/>
                  <a:moveTo>
                    <a:pt x="507" y="1174"/>
                  </a:moveTo>
                  <a:lnTo>
                    <a:pt x="423" y="1174"/>
                  </a:lnTo>
                  <a:lnTo>
                    <a:pt x="423" y="1068"/>
                  </a:lnTo>
                  <a:lnTo>
                    <a:pt x="507" y="1068"/>
                  </a:lnTo>
                  <a:lnTo>
                    <a:pt x="507" y="1174"/>
                  </a:lnTo>
                  <a:close/>
                  <a:moveTo>
                    <a:pt x="507" y="1026"/>
                  </a:moveTo>
                  <a:lnTo>
                    <a:pt x="423" y="1026"/>
                  </a:lnTo>
                  <a:lnTo>
                    <a:pt x="423" y="920"/>
                  </a:lnTo>
                  <a:lnTo>
                    <a:pt x="507" y="920"/>
                  </a:lnTo>
                  <a:lnTo>
                    <a:pt x="507" y="1026"/>
                  </a:lnTo>
                  <a:close/>
                  <a:moveTo>
                    <a:pt x="507" y="867"/>
                  </a:moveTo>
                  <a:lnTo>
                    <a:pt x="423" y="867"/>
                  </a:lnTo>
                  <a:lnTo>
                    <a:pt x="423" y="761"/>
                  </a:lnTo>
                  <a:lnTo>
                    <a:pt x="507" y="761"/>
                  </a:lnTo>
                  <a:lnTo>
                    <a:pt x="507" y="867"/>
                  </a:lnTo>
                  <a:close/>
                  <a:moveTo>
                    <a:pt x="507" y="719"/>
                  </a:moveTo>
                  <a:lnTo>
                    <a:pt x="423" y="719"/>
                  </a:lnTo>
                  <a:lnTo>
                    <a:pt x="423" y="603"/>
                  </a:lnTo>
                  <a:lnTo>
                    <a:pt x="507" y="603"/>
                  </a:lnTo>
                  <a:lnTo>
                    <a:pt x="507" y="719"/>
                  </a:lnTo>
                  <a:close/>
                  <a:moveTo>
                    <a:pt x="507" y="561"/>
                  </a:moveTo>
                  <a:lnTo>
                    <a:pt x="423" y="561"/>
                  </a:lnTo>
                  <a:lnTo>
                    <a:pt x="423" y="455"/>
                  </a:lnTo>
                  <a:lnTo>
                    <a:pt x="507" y="455"/>
                  </a:lnTo>
                  <a:lnTo>
                    <a:pt x="507" y="561"/>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32" name="Freeform 7">
              <a:extLst>
                <a:ext uri="{FF2B5EF4-FFF2-40B4-BE49-F238E27FC236}">
                  <a16:creationId xmlns:a16="http://schemas.microsoft.com/office/drawing/2014/main" id="{40991DB6-C686-D3BC-2B1A-43E7E99BB723}"/>
                </a:ext>
              </a:extLst>
            </p:cNvPr>
            <p:cNvSpPr>
              <a:spLocks noEditPoints="1"/>
            </p:cNvSpPr>
            <p:nvPr/>
          </p:nvSpPr>
          <p:spPr bwMode="auto">
            <a:xfrm>
              <a:off x="6688936" y="2898904"/>
              <a:ext cx="651539" cy="1561961"/>
            </a:xfrm>
            <a:custGeom>
              <a:avLst/>
              <a:gdLst>
                <a:gd name="T0" fmla="*/ 423 w 761"/>
                <a:gd name="T1" fmla="*/ 0 h 2452"/>
                <a:gd name="T2" fmla="*/ 127 w 761"/>
                <a:gd name="T3" fmla="*/ 317 h 2452"/>
                <a:gd name="T4" fmla="*/ 0 w 761"/>
                <a:gd name="T5" fmla="*/ 2452 h 2452"/>
                <a:gd name="T6" fmla="*/ 655 w 761"/>
                <a:gd name="T7" fmla="*/ 560 h 2452"/>
                <a:gd name="T8" fmla="*/ 63 w 761"/>
                <a:gd name="T9" fmla="*/ 2198 h 2452"/>
                <a:gd name="T10" fmla="*/ 137 w 761"/>
                <a:gd name="T11" fmla="*/ 2198 h 2452"/>
                <a:gd name="T12" fmla="*/ 63 w 761"/>
                <a:gd name="T13" fmla="*/ 1818 h 2452"/>
                <a:gd name="T14" fmla="*/ 137 w 761"/>
                <a:gd name="T15" fmla="*/ 1733 h 2452"/>
                <a:gd name="T16" fmla="*/ 137 w 761"/>
                <a:gd name="T17" fmla="*/ 1585 h 2452"/>
                <a:gd name="T18" fmla="*/ 63 w 761"/>
                <a:gd name="T19" fmla="*/ 1501 h 2452"/>
                <a:gd name="T20" fmla="*/ 137 w 761"/>
                <a:gd name="T21" fmla="*/ 1501 h 2452"/>
                <a:gd name="T22" fmla="*/ 63 w 761"/>
                <a:gd name="T23" fmla="*/ 1120 h 2452"/>
                <a:gd name="T24" fmla="*/ 137 w 761"/>
                <a:gd name="T25" fmla="*/ 1036 h 2452"/>
                <a:gd name="T26" fmla="*/ 137 w 761"/>
                <a:gd name="T27" fmla="*/ 888 h 2452"/>
                <a:gd name="T28" fmla="*/ 63 w 761"/>
                <a:gd name="T29" fmla="*/ 803 h 2452"/>
                <a:gd name="T30" fmla="*/ 137 w 761"/>
                <a:gd name="T31" fmla="*/ 803 h 2452"/>
                <a:gd name="T32" fmla="*/ 201 w 761"/>
                <a:gd name="T33" fmla="*/ 2050 h 2452"/>
                <a:gd name="T34" fmla="*/ 275 w 761"/>
                <a:gd name="T35" fmla="*/ 1966 h 2452"/>
                <a:gd name="T36" fmla="*/ 275 w 761"/>
                <a:gd name="T37" fmla="*/ 1818 h 2452"/>
                <a:gd name="T38" fmla="*/ 201 w 761"/>
                <a:gd name="T39" fmla="*/ 1501 h 2452"/>
                <a:gd name="T40" fmla="*/ 275 w 761"/>
                <a:gd name="T41" fmla="*/ 1501 h 2452"/>
                <a:gd name="T42" fmla="*/ 201 w 761"/>
                <a:gd name="T43" fmla="*/ 888 h 2452"/>
                <a:gd name="T44" fmla="*/ 275 w 761"/>
                <a:gd name="T45" fmla="*/ 803 h 2452"/>
                <a:gd name="T46" fmla="*/ 275 w 761"/>
                <a:gd name="T47" fmla="*/ 655 h 2452"/>
                <a:gd name="T48" fmla="*/ 201 w 761"/>
                <a:gd name="T49" fmla="*/ 550 h 2452"/>
                <a:gd name="T50" fmla="*/ 275 w 761"/>
                <a:gd name="T51" fmla="*/ 550 h 2452"/>
                <a:gd name="T52" fmla="*/ 338 w 761"/>
                <a:gd name="T53" fmla="*/ 2050 h 2452"/>
                <a:gd name="T54" fmla="*/ 423 w 761"/>
                <a:gd name="T55" fmla="*/ 1733 h 2452"/>
                <a:gd name="T56" fmla="*/ 423 w 761"/>
                <a:gd name="T57" fmla="*/ 1585 h 2452"/>
                <a:gd name="T58" fmla="*/ 338 w 761"/>
                <a:gd name="T59" fmla="*/ 1501 h 2452"/>
                <a:gd name="T60" fmla="*/ 423 w 761"/>
                <a:gd name="T61" fmla="*/ 1501 h 2452"/>
                <a:gd name="T62" fmla="*/ 338 w 761"/>
                <a:gd name="T63" fmla="*/ 1120 h 2452"/>
                <a:gd name="T64" fmla="*/ 423 w 761"/>
                <a:gd name="T65" fmla="*/ 1036 h 2452"/>
                <a:gd name="T66" fmla="*/ 423 w 761"/>
                <a:gd name="T67" fmla="*/ 888 h 2452"/>
                <a:gd name="T68" fmla="*/ 338 w 761"/>
                <a:gd name="T69" fmla="*/ 803 h 2452"/>
                <a:gd name="T70" fmla="*/ 423 w 761"/>
                <a:gd name="T71" fmla="*/ 803 h 2452"/>
                <a:gd name="T72" fmla="*/ 338 w 761"/>
                <a:gd name="T73" fmla="*/ 550 h 2452"/>
                <a:gd name="T74" fmla="*/ 423 w 761"/>
                <a:gd name="T75" fmla="*/ 391 h 2452"/>
                <a:gd name="T76" fmla="*/ 476 w 761"/>
                <a:gd name="T77" fmla="*/ 2198 h 2452"/>
                <a:gd name="T78" fmla="*/ 560 w 761"/>
                <a:gd name="T79" fmla="*/ 2198 h 2452"/>
                <a:gd name="T80" fmla="*/ 476 w 761"/>
                <a:gd name="T81" fmla="*/ 1818 h 2452"/>
                <a:gd name="T82" fmla="*/ 560 w 761"/>
                <a:gd name="T83" fmla="*/ 1733 h 2452"/>
                <a:gd name="T84" fmla="*/ 560 w 761"/>
                <a:gd name="T85" fmla="*/ 1585 h 2452"/>
                <a:gd name="T86" fmla="*/ 476 w 761"/>
                <a:gd name="T87" fmla="*/ 1501 h 2452"/>
                <a:gd name="T88" fmla="*/ 560 w 761"/>
                <a:gd name="T89" fmla="*/ 1501 h 2452"/>
                <a:gd name="T90" fmla="*/ 476 w 761"/>
                <a:gd name="T91" fmla="*/ 1120 h 2452"/>
                <a:gd name="T92" fmla="*/ 560 w 761"/>
                <a:gd name="T93" fmla="*/ 803 h 2452"/>
                <a:gd name="T94" fmla="*/ 560 w 761"/>
                <a:gd name="T95" fmla="*/ 655 h 2452"/>
                <a:gd name="T96" fmla="*/ 476 w 761"/>
                <a:gd name="T97" fmla="*/ 550 h 2452"/>
                <a:gd name="T98" fmla="*/ 560 w 761"/>
                <a:gd name="T99" fmla="*/ 550 h 2452"/>
                <a:gd name="T100" fmla="*/ 624 w 761"/>
                <a:gd name="T101" fmla="*/ 2050 h 2452"/>
                <a:gd name="T102" fmla="*/ 698 w 761"/>
                <a:gd name="T103" fmla="*/ 1966 h 2452"/>
                <a:gd name="T104" fmla="*/ 698 w 761"/>
                <a:gd name="T105" fmla="*/ 1818 h 2452"/>
                <a:gd name="T106" fmla="*/ 624 w 761"/>
                <a:gd name="T107" fmla="*/ 1733 h 2452"/>
                <a:gd name="T108" fmla="*/ 698 w 761"/>
                <a:gd name="T109" fmla="*/ 1733 h 2452"/>
                <a:gd name="T110" fmla="*/ 624 w 761"/>
                <a:gd name="T111" fmla="*/ 1353 h 2452"/>
                <a:gd name="T112" fmla="*/ 698 w 761"/>
                <a:gd name="T113" fmla="*/ 1268 h 2452"/>
                <a:gd name="T114" fmla="*/ 698 w 761"/>
                <a:gd name="T115" fmla="*/ 1120 h 2452"/>
                <a:gd name="T116" fmla="*/ 624 w 761"/>
                <a:gd name="T117" fmla="*/ 1036 h 2452"/>
                <a:gd name="T118" fmla="*/ 698 w 761"/>
                <a:gd name="T119" fmla="*/ 1036 h 2452"/>
                <a:gd name="T120" fmla="*/ 624 w 761"/>
                <a:gd name="T121" fmla="*/ 803 h 2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1" h="2452">
                  <a:moveTo>
                    <a:pt x="655" y="317"/>
                  </a:moveTo>
                  <a:lnTo>
                    <a:pt x="423" y="317"/>
                  </a:lnTo>
                  <a:lnTo>
                    <a:pt x="423" y="0"/>
                  </a:lnTo>
                  <a:lnTo>
                    <a:pt x="338" y="0"/>
                  </a:lnTo>
                  <a:lnTo>
                    <a:pt x="338" y="317"/>
                  </a:lnTo>
                  <a:lnTo>
                    <a:pt x="127" y="317"/>
                  </a:lnTo>
                  <a:lnTo>
                    <a:pt x="127" y="560"/>
                  </a:lnTo>
                  <a:lnTo>
                    <a:pt x="0" y="560"/>
                  </a:lnTo>
                  <a:lnTo>
                    <a:pt x="0" y="2452"/>
                  </a:lnTo>
                  <a:lnTo>
                    <a:pt x="761" y="2452"/>
                  </a:lnTo>
                  <a:lnTo>
                    <a:pt x="761" y="560"/>
                  </a:lnTo>
                  <a:lnTo>
                    <a:pt x="655" y="560"/>
                  </a:lnTo>
                  <a:lnTo>
                    <a:pt x="655" y="317"/>
                  </a:lnTo>
                  <a:close/>
                  <a:moveTo>
                    <a:pt x="137" y="2198"/>
                  </a:moveTo>
                  <a:lnTo>
                    <a:pt x="63" y="2198"/>
                  </a:lnTo>
                  <a:lnTo>
                    <a:pt x="63" y="2050"/>
                  </a:lnTo>
                  <a:lnTo>
                    <a:pt x="137" y="2050"/>
                  </a:lnTo>
                  <a:lnTo>
                    <a:pt x="137" y="2198"/>
                  </a:lnTo>
                  <a:close/>
                  <a:moveTo>
                    <a:pt x="137" y="1966"/>
                  </a:moveTo>
                  <a:lnTo>
                    <a:pt x="63" y="1966"/>
                  </a:lnTo>
                  <a:lnTo>
                    <a:pt x="63" y="1818"/>
                  </a:lnTo>
                  <a:lnTo>
                    <a:pt x="137" y="1818"/>
                  </a:lnTo>
                  <a:lnTo>
                    <a:pt x="137" y="1966"/>
                  </a:lnTo>
                  <a:close/>
                  <a:moveTo>
                    <a:pt x="137" y="1733"/>
                  </a:moveTo>
                  <a:lnTo>
                    <a:pt x="63" y="1733"/>
                  </a:lnTo>
                  <a:lnTo>
                    <a:pt x="63" y="1585"/>
                  </a:lnTo>
                  <a:lnTo>
                    <a:pt x="137" y="1585"/>
                  </a:lnTo>
                  <a:lnTo>
                    <a:pt x="137" y="1733"/>
                  </a:lnTo>
                  <a:close/>
                  <a:moveTo>
                    <a:pt x="137" y="1501"/>
                  </a:moveTo>
                  <a:lnTo>
                    <a:pt x="63" y="1501"/>
                  </a:lnTo>
                  <a:lnTo>
                    <a:pt x="63" y="1353"/>
                  </a:lnTo>
                  <a:lnTo>
                    <a:pt x="137" y="1353"/>
                  </a:lnTo>
                  <a:lnTo>
                    <a:pt x="137" y="1501"/>
                  </a:lnTo>
                  <a:close/>
                  <a:moveTo>
                    <a:pt x="137" y="1268"/>
                  </a:moveTo>
                  <a:lnTo>
                    <a:pt x="63" y="1268"/>
                  </a:lnTo>
                  <a:lnTo>
                    <a:pt x="63" y="1120"/>
                  </a:lnTo>
                  <a:lnTo>
                    <a:pt x="137" y="1120"/>
                  </a:lnTo>
                  <a:lnTo>
                    <a:pt x="137" y="1268"/>
                  </a:lnTo>
                  <a:close/>
                  <a:moveTo>
                    <a:pt x="137" y="1036"/>
                  </a:moveTo>
                  <a:lnTo>
                    <a:pt x="63" y="1036"/>
                  </a:lnTo>
                  <a:lnTo>
                    <a:pt x="63" y="888"/>
                  </a:lnTo>
                  <a:lnTo>
                    <a:pt x="137" y="888"/>
                  </a:lnTo>
                  <a:lnTo>
                    <a:pt x="137" y="1036"/>
                  </a:lnTo>
                  <a:close/>
                  <a:moveTo>
                    <a:pt x="137" y="803"/>
                  </a:moveTo>
                  <a:lnTo>
                    <a:pt x="63" y="803"/>
                  </a:lnTo>
                  <a:lnTo>
                    <a:pt x="63" y="655"/>
                  </a:lnTo>
                  <a:lnTo>
                    <a:pt x="137" y="655"/>
                  </a:lnTo>
                  <a:lnTo>
                    <a:pt x="137" y="803"/>
                  </a:lnTo>
                  <a:close/>
                  <a:moveTo>
                    <a:pt x="275" y="2198"/>
                  </a:moveTo>
                  <a:lnTo>
                    <a:pt x="201" y="2198"/>
                  </a:lnTo>
                  <a:lnTo>
                    <a:pt x="201" y="2050"/>
                  </a:lnTo>
                  <a:lnTo>
                    <a:pt x="275" y="2050"/>
                  </a:lnTo>
                  <a:lnTo>
                    <a:pt x="275" y="2198"/>
                  </a:lnTo>
                  <a:close/>
                  <a:moveTo>
                    <a:pt x="275" y="1966"/>
                  </a:moveTo>
                  <a:lnTo>
                    <a:pt x="201" y="1966"/>
                  </a:lnTo>
                  <a:lnTo>
                    <a:pt x="201" y="1818"/>
                  </a:lnTo>
                  <a:lnTo>
                    <a:pt x="275" y="1818"/>
                  </a:lnTo>
                  <a:lnTo>
                    <a:pt x="275" y="1966"/>
                  </a:lnTo>
                  <a:close/>
                  <a:moveTo>
                    <a:pt x="275" y="1501"/>
                  </a:moveTo>
                  <a:lnTo>
                    <a:pt x="201" y="1501"/>
                  </a:lnTo>
                  <a:lnTo>
                    <a:pt x="201" y="1353"/>
                  </a:lnTo>
                  <a:lnTo>
                    <a:pt x="275" y="1353"/>
                  </a:lnTo>
                  <a:lnTo>
                    <a:pt x="275" y="1501"/>
                  </a:lnTo>
                  <a:close/>
                  <a:moveTo>
                    <a:pt x="275" y="1036"/>
                  </a:moveTo>
                  <a:lnTo>
                    <a:pt x="201" y="1036"/>
                  </a:lnTo>
                  <a:lnTo>
                    <a:pt x="201" y="888"/>
                  </a:lnTo>
                  <a:lnTo>
                    <a:pt x="275" y="888"/>
                  </a:lnTo>
                  <a:lnTo>
                    <a:pt x="275" y="1036"/>
                  </a:lnTo>
                  <a:close/>
                  <a:moveTo>
                    <a:pt x="275" y="803"/>
                  </a:moveTo>
                  <a:lnTo>
                    <a:pt x="201" y="803"/>
                  </a:lnTo>
                  <a:lnTo>
                    <a:pt x="201" y="655"/>
                  </a:lnTo>
                  <a:lnTo>
                    <a:pt x="275" y="655"/>
                  </a:lnTo>
                  <a:lnTo>
                    <a:pt x="275" y="803"/>
                  </a:lnTo>
                  <a:close/>
                  <a:moveTo>
                    <a:pt x="275" y="550"/>
                  </a:moveTo>
                  <a:lnTo>
                    <a:pt x="201" y="550"/>
                  </a:lnTo>
                  <a:lnTo>
                    <a:pt x="201" y="391"/>
                  </a:lnTo>
                  <a:lnTo>
                    <a:pt x="275" y="391"/>
                  </a:lnTo>
                  <a:lnTo>
                    <a:pt x="275" y="550"/>
                  </a:lnTo>
                  <a:close/>
                  <a:moveTo>
                    <a:pt x="423" y="2198"/>
                  </a:moveTo>
                  <a:lnTo>
                    <a:pt x="338" y="2198"/>
                  </a:lnTo>
                  <a:lnTo>
                    <a:pt x="338" y="2050"/>
                  </a:lnTo>
                  <a:lnTo>
                    <a:pt x="423" y="2050"/>
                  </a:lnTo>
                  <a:lnTo>
                    <a:pt x="423" y="2198"/>
                  </a:lnTo>
                  <a:close/>
                  <a:moveTo>
                    <a:pt x="423" y="1733"/>
                  </a:moveTo>
                  <a:lnTo>
                    <a:pt x="338" y="1733"/>
                  </a:lnTo>
                  <a:lnTo>
                    <a:pt x="338" y="1585"/>
                  </a:lnTo>
                  <a:lnTo>
                    <a:pt x="423" y="1585"/>
                  </a:lnTo>
                  <a:lnTo>
                    <a:pt x="423" y="1733"/>
                  </a:lnTo>
                  <a:close/>
                  <a:moveTo>
                    <a:pt x="423" y="1501"/>
                  </a:moveTo>
                  <a:lnTo>
                    <a:pt x="338" y="1501"/>
                  </a:lnTo>
                  <a:lnTo>
                    <a:pt x="338" y="1353"/>
                  </a:lnTo>
                  <a:lnTo>
                    <a:pt x="423" y="1353"/>
                  </a:lnTo>
                  <a:lnTo>
                    <a:pt x="423" y="1501"/>
                  </a:lnTo>
                  <a:close/>
                  <a:moveTo>
                    <a:pt x="423" y="1268"/>
                  </a:moveTo>
                  <a:lnTo>
                    <a:pt x="338" y="1268"/>
                  </a:lnTo>
                  <a:lnTo>
                    <a:pt x="338" y="1120"/>
                  </a:lnTo>
                  <a:lnTo>
                    <a:pt x="423" y="1120"/>
                  </a:lnTo>
                  <a:lnTo>
                    <a:pt x="423" y="1268"/>
                  </a:lnTo>
                  <a:close/>
                  <a:moveTo>
                    <a:pt x="423" y="1036"/>
                  </a:moveTo>
                  <a:lnTo>
                    <a:pt x="338" y="1036"/>
                  </a:lnTo>
                  <a:lnTo>
                    <a:pt x="338" y="888"/>
                  </a:lnTo>
                  <a:lnTo>
                    <a:pt x="423" y="888"/>
                  </a:lnTo>
                  <a:lnTo>
                    <a:pt x="423" y="1036"/>
                  </a:lnTo>
                  <a:close/>
                  <a:moveTo>
                    <a:pt x="423" y="803"/>
                  </a:moveTo>
                  <a:lnTo>
                    <a:pt x="338" y="803"/>
                  </a:lnTo>
                  <a:lnTo>
                    <a:pt x="338" y="655"/>
                  </a:lnTo>
                  <a:lnTo>
                    <a:pt x="423" y="655"/>
                  </a:lnTo>
                  <a:lnTo>
                    <a:pt x="423" y="803"/>
                  </a:lnTo>
                  <a:close/>
                  <a:moveTo>
                    <a:pt x="423" y="518"/>
                  </a:moveTo>
                  <a:lnTo>
                    <a:pt x="423" y="550"/>
                  </a:lnTo>
                  <a:lnTo>
                    <a:pt x="338" y="550"/>
                  </a:lnTo>
                  <a:lnTo>
                    <a:pt x="338" y="518"/>
                  </a:lnTo>
                  <a:lnTo>
                    <a:pt x="338" y="391"/>
                  </a:lnTo>
                  <a:lnTo>
                    <a:pt x="423" y="391"/>
                  </a:lnTo>
                  <a:lnTo>
                    <a:pt x="423" y="518"/>
                  </a:lnTo>
                  <a:close/>
                  <a:moveTo>
                    <a:pt x="560" y="2198"/>
                  </a:moveTo>
                  <a:lnTo>
                    <a:pt x="476" y="2198"/>
                  </a:lnTo>
                  <a:lnTo>
                    <a:pt x="476" y="2050"/>
                  </a:lnTo>
                  <a:lnTo>
                    <a:pt x="560" y="2050"/>
                  </a:lnTo>
                  <a:lnTo>
                    <a:pt x="560" y="2198"/>
                  </a:lnTo>
                  <a:close/>
                  <a:moveTo>
                    <a:pt x="560" y="1966"/>
                  </a:moveTo>
                  <a:lnTo>
                    <a:pt x="476" y="1966"/>
                  </a:lnTo>
                  <a:lnTo>
                    <a:pt x="476" y="1818"/>
                  </a:lnTo>
                  <a:lnTo>
                    <a:pt x="560" y="1818"/>
                  </a:lnTo>
                  <a:lnTo>
                    <a:pt x="560" y="1966"/>
                  </a:lnTo>
                  <a:close/>
                  <a:moveTo>
                    <a:pt x="560" y="1733"/>
                  </a:moveTo>
                  <a:lnTo>
                    <a:pt x="476" y="1733"/>
                  </a:lnTo>
                  <a:lnTo>
                    <a:pt x="476" y="1585"/>
                  </a:lnTo>
                  <a:lnTo>
                    <a:pt x="560" y="1585"/>
                  </a:lnTo>
                  <a:lnTo>
                    <a:pt x="560" y="1733"/>
                  </a:lnTo>
                  <a:close/>
                  <a:moveTo>
                    <a:pt x="560" y="1501"/>
                  </a:moveTo>
                  <a:lnTo>
                    <a:pt x="476" y="1501"/>
                  </a:lnTo>
                  <a:lnTo>
                    <a:pt x="476" y="1353"/>
                  </a:lnTo>
                  <a:lnTo>
                    <a:pt x="560" y="1353"/>
                  </a:lnTo>
                  <a:lnTo>
                    <a:pt x="560" y="1501"/>
                  </a:lnTo>
                  <a:close/>
                  <a:moveTo>
                    <a:pt x="560" y="1268"/>
                  </a:moveTo>
                  <a:lnTo>
                    <a:pt x="476" y="1268"/>
                  </a:lnTo>
                  <a:lnTo>
                    <a:pt x="476" y="1120"/>
                  </a:lnTo>
                  <a:lnTo>
                    <a:pt x="560" y="1120"/>
                  </a:lnTo>
                  <a:lnTo>
                    <a:pt x="560" y="1268"/>
                  </a:lnTo>
                  <a:close/>
                  <a:moveTo>
                    <a:pt x="560" y="803"/>
                  </a:moveTo>
                  <a:lnTo>
                    <a:pt x="476" y="803"/>
                  </a:lnTo>
                  <a:lnTo>
                    <a:pt x="476" y="655"/>
                  </a:lnTo>
                  <a:lnTo>
                    <a:pt x="560" y="655"/>
                  </a:lnTo>
                  <a:lnTo>
                    <a:pt x="560" y="803"/>
                  </a:lnTo>
                  <a:close/>
                  <a:moveTo>
                    <a:pt x="560" y="550"/>
                  </a:moveTo>
                  <a:lnTo>
                    <a:pt x="476" y="550"/>
                  </a:lnTo>
                  <a:lnTo>
                    <a:pt x="476" y="391"/>
                  </a:lnTo>
                  <a:lnTo>
                    <a:pt x="560" y="391"/>
                  </a:lnTo>
                  <a:lnTo>
                    <a:pt x="560" y="550"/>
                  </a:lnTo>
                  <a:close/>
                  <a:moveTo>
                    <a:pt x="698" y="2198"/>
                  </a:moveTo>
                  <a:lnTo>
                    <a:pt x="624" y="2198"/>
                  </a:lnTo>
                  <a:lnTo>
                    <a:pt x="624" y="2050"/>
                  </a:lnTo>
                  <a:lnTo>
                    <a:pt x="698" y="2050"/>
                  </a:lnTo>
                  <a:lnTo>
                    <a:pt x="698" y="2198"/>
                  </a:lnTo>
                  <a:close/>
                  <a:moveTo>
                    <a:pt x="698" y="1966"/>
                  </a:moveTo>
                  <a:lnTo>
                    <a:pt x="624" y="1966"/>
                  </a:lnTo>
                  <a:lnTo>
                    <a:pt x="624" y="1818"/>
                  </a:lnTo>
                  <a:lnTo>
                    <a:pt x="698" y="1818"/>
                  </a:lnTo>
                  <a:lnTo>
                    <a:pt x="698" y="1966"/>
                  </a:lnTo>
                  <a:close/>
                  <a:moveTo>
                    <a:pt x="698" y="1733"/>
                  </a:moveTo>
                  <a:lnTo>
                    <a:pt x="624" y="1733"/>
                  </a:lnTo>
                  <a:lnTo>
                    <a:pt x="624" y="1585"/>
                  </a:lnTo>
                  <a:lnTo>
                    <a:pt x="698" y="1585"/>
                  </a:lnTo>
                  <a:lnTo>
                    <a:pt x="698" y="1733"/>
                  </a:lnTo>
                  <a:close/>
                  <a:moveTo>
                    <a:pt x="698" y="1501"/>
                  </a:moveTo>
                  <a:lnTo>
                    <a:pt x="624" y="1501"/>
                  </a:lnTo>
                  <a:lnTo>
                    <a:pt x="624" y="1353"/>
                  </a:lnTo>
                  <a:lnTo>
                    <a:pt x="698" y="1353"/>
                  </a:lnTo>
                  <a:lnTo>
                    <a:pt x="698" y="1501"/>
                  </a:lnTo>
                  <a:close/>
                  <a:moveTo>
                    <a:pt x="698" y="1268"/>
                  </a:moveTo>
                  <a:lnTo>
                    <a:pt x="624" y="1268"/>
                  </a:lnTo>
                  <a:lnTo>
                    <a:pt x="624" y="1120"/>
                  </a:lnTo>
                  <a:lnTo>
                    <a:pt x="698" y="1120"/>
                  </a:lnTo>
                  <a:lnTo>
                    <a:pt x="698" y="1268"/>
                  </a:lnTo>
                  <a:close/>
                  <a:moveTo>
                    <a:pt x="698" y="1036"/>
                  </a:moveTo>
                  <a:lnTo>
                    <a:pt x="624" y="1036"/>
                  </a:lnTo>
                  <a:lnTo>
                    <a:pt x="624" y="888"/>
                  </a:lnTo>
                  <a:lnTo>
                    <a:pt x="698" y="888"/>
                  </a:lnTo>
                  <a:lnTo>
                    <a:pt x="698" y="1036"/>
                  </a:lnTo>
                  <a:close/>
                  <a:moveTo>
                    <a:pt x="698" y="655"/>
                  </a:moveTo>
                  <a:lnTo>
                    <a:pt x="698" y="803"/>
                  </a:lnTo>
                  <a:lnTo>
                    <a:pt x="624" y="803"/>
                  </a:lnTo>
                  <a:lnTo>
                    <a:pt x="624" y="655"/>
                  </a:lnTo>
                  <a:lnTo>
                    <a:pt x="698" y="655"/>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33" name="Freeform 8">
              <a:extLst>
                <a:ext uri="{FF2B5EF4-FFF2-40B4-BE49-F238E27FC236}">
                  <a16:creationId xmlns:a16="http://schemas.microsoft.com/office/drawing/2014/main" id="{A4AE12A5-F827-CF5A-FF84-BF2D616DA6CD}"/>
                </a:ext>
              </a:extLst>
            </p:cNvPr>
            <p:cNvSpPr>
              <a:spLocks noEditPoints="1"/>
            </p:cNvSpPr>
            <p:nvPr/>
          </p:nvSpPr>
          <p:spPr bwMode="auto">
            <a:xfrm>
              <a:off x="3486036" y="3551844"/>
              <a:ext cx="470033" cy="909021"/>
            </a:xfrm>
            <a:custGeom>
              <a:avLst/>
              <a:gdLst>
                <a:gd name="T0" fmla="*/ 169 w 549"/>
                <a:gd name="T1" fmla="*/ 0 h 1427"/>
                <a:gd name="T2" fmla="*/ 84 w 549"/>
                <a:gd name="T3" fmla="*/ 0 h 1427"/>
                <a:gd name="T4" fmla="*/ 84 w 549"/>
                <a:gd name="T5" fmla="*/ 137 h 1427"/>
                <a:gd name="T6" fmla="*/ 0 w 549"/>
                <a:gd name="T7" fmla="*/ 137 h 1427"/>
                <a:gd name="T8" fmla="*/ 0 w 549"/>
                <a:gd name="T9" fmla="*/ 1427 h 1427"/>
                <a:gd name="T10" fmla="*/ 549 w 549"/>
                <a:gd name="T11" fmla="*/ 1427 h 1427"/>
                <a:gd name="T12" fmla="*/ 549 w 549"/>
                <a:gd name="T13" fmla="*/ 137 h 1427"/>
                <a:gd name="T14" fmla="*/ 169 w 549"/>
                <a:gd name="T15" fmla="*/ 137 h 1427"/>
                <a:gd name="T16" fmla="*/ 169 w 549"/>
                <a:gd name="T17" fmla="*/ 0 h 1427"/>
                <a:gd name="T18" fmla="*/ 486 w 549"/>
                <a:gd name="T19" fmla="*/ 1131 h 1427"/>
                <a:gd name="T20" fmla="*/ 52 w 549"/>
                <a:gd name="T21" fmla="*/ 1131 h 1427"/>
                <a:gd name="T22" fmla="*/ 52 w 549"/>
                <a:gd name="T23" fmla="*/ 1088 h 1427"/>
                <a:gd name="T24" fmla="*/ 486 w 549"/>
                <a:gd name="T25" fmla="*/ 1088 h 1427"/>
                <a:gd name="T26" fmla="*/ 486 w 549"/>
                <a:gd name="T27" fmla="*/ 1131 h 1427"/>
                <a:gd name="T28" fmla="*/ 486 w 549"/>
                <a:gd name="T29" fmla="*/ 1004 h 1427"/>
                <a:gd name="T30" fmla="*/ 52 w 549"/>
                <a:gd name="T31" fmla="*/ 1004 h 1427"/>
                <a:gd name="T32" fmla="*/ 52 w 549"/>
                <a:gd name="T33" fmla="*/ 962 h 1427"/>
                <a:gd name="T34" fmla="*/ 486 w 549"/>
                <a:gd name="T35" fmla="*/ 962 h 1427"/>
                <a:gd name="T36" fmla="*/ 486 w 549"/>
                <a:gd name="T37" fmla="*/ 1004 h 1427"/>
                <a:gd name="T38" fmla="*/ 486 w 549"/>
                <a:gd name="T39" fmla="*/ 888 h 1427"/>
                <a:gd name="T40" fmla="*/ 52 w 549"/>
                <a:gd name="T41" fmla="*/ 888 h 1427"/>
                <a:gd name="T42" fmla="*/ 52 w 549"/>
                <a:gd name="T43" fmla="*/ 835 h 1427"/>
                <a:gd name="T44" fmla="*/ 486 w 549"/>
                <a:gd name="T45" fmla="*/ 835 h 1427"/>
                <a:gd name="T46" fmla="*/ 486 w 549"/>
                <a:gd name="T47" fmla="*/ 888 h 1427"/>
                <a:gd name="T48" fmla="*/ 486 w 549"/>
                <a:gd name="T49" fmla="*/ 761 h 1427"/>
                <a:gd name="T50" fmla="*/ 52 w 549"/>
                <a:gd name="T51" fmla="*/ 761 h 1427"/>
                <a:gd name="T52" fmla="*/ 52 w 549"/>
                <a:gd name="T53" fmla="*/ 708 h 1427"/>
                <a:gd name="T54" fmla="*/ 486 w 549"/>
                <a:gd name="T55" fmla="*/ 708 h 1427"/>
                <a:gd name="T56" fmla="*/ 486 w 549"/>
                <a:gd name="T57" fmla="*/ 761 h 1427"/>
                <a:gd name="T58" fmla="*/ 486 w 549"/>
                <a:gd name="T59" fmla="*/ 634 h 1427"/>
                <a:gd name="T60" fmla="*/ 52 w 549"/>
                <a:gd name="T61" fmla="*/ 634 h 1427"/>
                <a:gd name="T62" fmla="*/ 52 w 549"/>
                <a:gd name="T63" fmla="*/ 592 h 1427"/>
                <a:gd name="T64" fmla="*/ 486 w 549"/>
                <a:gd name="T65" fmla="*/ 592 h 1427"/>
                <a:gd name="T66" fmla="*/ 486 w 549"/>
                <a:gd name="T67" fmla="*/ 634 h 1427"/>
                <a:gd name="T68" fmla="*/ 486 w 549"/>
                <a:gd name="T69" fmla="*/ 507 h 1427"/>
                <a:gd name="T70" fmla="*/ 52 w 549"/>
                <a:gd name="T71" fmla="*/ 507 h 1427"/>
                <a:gd name="T72" fmla="*/ 52 w 549"/>
                <a:gd name="T73" fmla="*/ 465 h 1427"/>
                <a:gd name="T74" fmla="*/ 486 w 549"/>
                <a:gd name="T75" fmla="*/ 465 h 1427"/>
                <a:gd name="T76" fmla="*/ 486 w 549"/>
                <a:gd name="T77" fmla="*/ 507 h 1427"/>
                <a:gd name="T78" fmla="*/ 486 w 549"/>
                <a:gd name="T79" fmla="*/ 391 h 1427"/>
                <a:gd name="T80" fmla="*/ 52 w 549"/>
                <a:gd name="T81" fmla="*/ 391 h 1427"/>
                <a:gd name="T82" fmla="*/ 52 w 549"/>
                <a:gd name="T83" fmla="*/ 338 h 1427"/>
                <a:gd name="T84" fmla="*/ 486 w 549"/>
                <a:gd name="T85" fmla="*/ 338 h 1427"/>
                <a:gd name="T86" fmla="*/ 486 w 549"/>
                <a:gd name="T87" fmla="*/ 391 h 1427"/>
                <a:gd name="T88" fmla="*/ 486 w 549"/>
                <a:gd name="T89" fmla="*/ 222 h 1427"/>
                <a:gd name="T90" fmla="*/ 486 w 549"/>
                <a:gd name="T91" fmla="*/ 264 h 1427"/>
                <a:gd name="T92" fmla="*/ 52 w 549"/>
                <a:gd name="T93" fmla="*/ 264 h 1427"/>
                <a:gd name="T94" fmla="*/ 52 w 549"/>
                <a:gd name="T95" fmla="*/ 222 h 1427"/>
                <a:gd name="T96" fmla="*/ 486 w 549"/>
                <a:gd name="T97" fmla="*/ 222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9" h="1427">
                  <a:moveTo>
                    <a:pt x="169" y="0"/>
                  </a:moveTo>
                  <a:lnTo>
                    <a:pt x="84" y="0"/>
                  </a:lnTo>
                  <a:lnTo>
                    <a:pt x="84" y="137"/>
                  </a:lnTo>
                  <a:lnTo>
                    <a:pt x="0" y="137"/>
                  </a:lnTo>
                  <a:lnTo>
                    <a:pt x="0" y="1427"/>
                  </a:lnTo>
                  <a:lnTo>
                    <a:pt x="549" y="1427"/>
                  </a:lnTo>
                  <a:lnTo>
                    <a:pt x="549" y="137"/>
                  </a:lnTo>
                  <a:lnTo>
                    <a:pt x="169" y="137"/>
                  </a:lnTo>
                  <a:lnTo>
                    <a:pt x="169" y="0"/>
                  </a:lnTo>
                  <a:close/>
                  <a:moveTo>
                    <a:pt x="486" y="1131"/>
                  </a:moveTo>
                  <a:lnTo>
                    <a:pt x="52" y="1131"/>
                  </a:lnTo>
                  <a:lnTo>
                    <a:pt x="52" y="1088"/>
                  </a:lnTo>
                  <a:lnTo>
                    <a:pt x="486" y="1088"/>
                  </a:lnTo>
                  <a:lnTo>
                    <a:pt x="486" y="1131"/>
                  </a:lnTo>
                  <a:close/>
                  <a:moveTo>
                    <a:pt x="486" y="1004"/>
                  </a:moveTo>
                  <a:lnTo>
                    <a:pt x="52" y="1004"/>
                  </a:lnTo>
                  <a:lnTo>
                    <a:pt x="52" y="962"/>
                  </a:lnTo>
                  <a:lnTo>
                    <a:pt x="486" y="962"/>
                  </a:lnTo>
                  <a:lnTo>
                    <a:pt x="486" y="1004"/>
                  </a:lnTo>
                  <a:close/>
                  <a:moveTo>
                    <a:pt x="486" y="888"/>
                  </a:moveTo>
                  <a:lnTo>
                    <a:pt x="52" y="888"/>
                  </a:lnTo>
                  <a:lnTo>
                    <a:pt x="52" y="835"/>
                  </a:lnTo>
                  <a:lnTo>
                    <a:pt x="486" y="835"/>
                  </a:lnTo>
                  <a:lnTo>
                    <a:pt x="486" y="888"/>
                  </a:lnTo>
                  <a:close/>
                  <a:moveTo>
                    <a:pt x="486" y="761"/>
                  </a:moveTo>
                  <a:lnTo>
                    <a:pt x="52" y="761"/>
                  </a:lnTo>
                  <a:lnTo>
                    <a:pt x="52" y="708"/>
                  </a:lnTo>
                  <a:lnTo>
                    <a:pt x="486" y="708"/>
                  </a:lnTo>
                  <a:lnTo>
                    <a:pt x="486" y="761"/>
                  </a:lnTo>
                  <a:close/>
                  <a:moveTo>
                    <a:pt x="486" y="634"/>
                  </a:moveTo>
                  <a:lnTo>
                    <a:pt x="52" y="634"/>
                  </a:lnTo>
                  <a:lnTo>
                    <a:pt x="52" y="592"/>
                  </a:lnTo>
                  <a:lnTo>
                    <a:pt x="486" y="592"/>
                  </a:lnTo>
                  <a:lnTo>
                    <a:pt x="486" y="634"/>
                  </a:lnTo>
                  <a:close/>
                  <a:moveTo>
                    <a:pt x="486" y="507"/>
                  </a:moveTo>
                  <a:lnTo>
                    <a:pt x="52" y="507"/>
                  </a:lnTo>
                  <a:lnTo>
                    <a:pt x="52" y="465"/>
                  </a:lnTo>
                  <a:lnTo>
                    <a:pt x="486" y="465"/>
                  </a:lnTo>
                  <a:lnTo>
                    <a:pt x="486" y="507"/>
                  </a:lnTo>
                  <a:close/>
                  <a:moveTo>
                    <a:pt x="486" y="391"/>
                  </a:moveTo>
                  <a:lnTo>
                    <a:pt x="52" y="391"/>
                  </a:lnTo>
                  <a:lnTo>
                    <a:pt x="52" y="338"/>
                  </a:lnTo>
                  <a:lnTo>
                    <a:pt x="486" y="338"/>
                  </a:lnTo>
                  <a:lnTo>
                    <a:pt x="486" y="391"/>
                  </a:lnTo>
                  <a:close/>
                  <a:moveTo>
                    <a:pt x="486" y="222"/>
                  </a:moveTo>
                  <a:lnTo>
                    <a:pt x="486" y="264"/>
                  </a:lnTo>
                  <a:lnTo>
                    <a:pt x="52" y="264"/>
                  </a:lnTo>
                  <a:lnTo>
                    <a:pt x="52" y="222"/>
                  </a:lnTo>
                  <a:lnTo>
                    <a:pt x="486" y="222"/>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40" name="Freeform 9">
              <a:extLst>
                <a:ext uri="{FF2B5EF4-FFF2-40B4-BE49-F238E27FC236}">
                  <a16:creationId xmlns:a16="http://schemas.microsoft.com/office/drawing/2014/main" id="{054AB56B-3E91-7363-DDF9-82247E77DCD5}"/>
                </a:ext>
              </a:extLst>
            </p:cNvPr>
            <p:cNvSpPr>
              <a:spLocks noEditPoints="1"/>
            </p:cNvSpPr>
            <p:nvPr/>
          </p:nvSpPr>
          <p:spPr bwMode="auto">
            <a:xfrm>
              <a:off x="7946637" y="3511075"/>
              <a:ext cx="588183" cy="949790"/>
            </a:xfrm>
            <a:custGeom>
              <a:avLst/>
              <a:gdLst>
                <a:gd name="T0" fmla="*/ 370 w 687"/>
                <a:gd name="T1" fmla="*/ 85 h 1491"/>
                <a:gd name="T2" fmla="*/ 296 w 687"/>
                <a:gd name="T3" fmla="*/ 201 h 1491"/>
                <a:gd name="T4" fmla="*/ 254 w 687"/>
                <a:gd name="T5" fmla="*/ 0 h 1491"/>
                <a:gd name="T6" fmla="*/ 169 w 687"/>
                <a:gd name="T7" fmla="*/ 201 h 1491"/>
                <a:gd name="T8" fmla="*/ 0 w 687"/>
                <a:gd name="T9" fmla="*/ 1491 h 1491"/>
                <a:gd name="T10" fmla="*/ 687 w 687"/>
                <a:gd name="T11" fmla="*/ 201 h 1491"/>
                <a:gd name="T12" fmla="*/ 370 w 687"/>
                <a:gd name="T13" fmla="*/ 1385 h 1491"/>
                <a:gd name="T14" fmla="*/ 317 w 687"/>
                <a:gd name="T15" fmla="*/ 1300 h 1491"/>
                <a:gd name="T16" fmla="*/ 370 w 687"/>
                <a:gd name="T17" fmla="*/ 1385 h 1491"/>
                <a:gd name="T18" fmla="*/ 317 w 687"/>
                <a:gd name="T19" fmla="*/ 1269 h 1491"/>
                <a:gd name="T20" fmla="*/ 370 w 687"/>
                <a:gd name="T21" fmla="*/ 1195 h 1491"/>
                <a:gd name="T22" fmla="*/ 370 w 687"/>
                <a:gd name="T23" fmla="*/ 1163 h 1491"/>
                <a:gd name="T24" fmla="*/ 317 w 687"/>
                <a:gd name="T25" fmla="*/ 1089 h 1491"/>
                <a:gd name="T26" fmla="*/ 370 w 687"/>
                <a:gd name="T27" fmla="*/ 1163 h 1491"/>
                <a:gd name="T28" fmla="*/ 317 w 687"/>
                <a:gd name="T29" fmla="*/ 1057 h 1491"/>
                <a:gd name="T30" fmla="*/ 370 w 687"/>
                <a:gd name="T31" fmla="*/ 983 h 1491"/>
                <a:gd name="T32" fmla="*/ 370 w 687"/>
                <a:gd name="T33" fmla="*/ 952 h 1491"/>
                <a:gd name="T34" fmla="*/ 317 w 687"/>
                <a:gd name="T35" fmla="*/ 867 h 1491"/>
                <a:gd name="T36" fmla="*/ 370 w 687"/>
                <a:gd name="T37" fmla="*/ 952 h 1491"/>
                <a:gd name="T38" fmla="*/ 317 w 687"/>
                <a:gd name="T39" fmla="*/ 835 h 1491"/>
                <a:gd name="T40" fmla="*/ 370 w 687"/>
                <a:gd name="T41" fmla="*/ 761 h 1491"/>
                <a:gd name="T42" fmla="*/ 370 w 687"/>
                <a:gd name="T43" fmla="*/ 730 h 1491"/>
                <a:gd name="T44" fmla="*/ 317 w 687"/>
                <a:gd name="T45" fmla="*/ 656 h 1491"/>
                <a:gd name="T46" fmla="*/ 370 w 687"/>
                <a:gd name="T47" fmla="*/ 730 h 1491"/>
                <a:gd name="T48" fmla="*/ 317 w 687"/>
                <a:gd name="T49" fmla="*/ 624 h 1491"/>
                <a:gd name="T50" fmla="*/ 370 w 687"/>
                <a:gd name="T51" fmla="*/ 539 h 1491"/>
                <a:gd name="T52" fmla="*/ 370 w 687"/>
                <a:gd name="T53" fmla="*/ 518 h 1491"/>
                <a:gd name="T54" fmla="*/ 317 w 687"/>
                <a:gd name="T55" fmla="*/ 434 h 1491"/>
                <a:gd name="T56" fmla="*/ 370 w 687"/>
                <a:gd name="T57" fmla="*/ 518 h 1491"/>
                <a:gd name="T58" fmla="*/ 317 w 687"/>
                <a:gd name="T59" fmla="*/ 402 h 1491"/>
                <a:gd name="T60" fmla="*/ 370 w 687"/>
                <a:gd name="T61" fmla="*/ 328 h 1491"/>
                <a:gd name="T62" fmla="*/ 497 w 687"/>
                <a:gd name="T63" fmla="*/ 1385 h 1491"/>
                <a:gd name="T64" fmla="*/ 433 w 687"/>
                <a:gd name="T65" fmla="*/ 1300 h 1491"/>
                <a:gd name="T66" fmla="*/ 497 w 687"/>
                <a:gd name="T67" fmla="*/ 1385 h 1491"/>
                <a:gd name="T68" fmla="*/ 433 w 687"/>
                <a:gd name="T69" fmla="*/ 1269 h 1491"/>
                <a:gd name="T70" fmla="*/ 497 w 687"/>
                <a:gd name="T71" fmla="*/ 1195 h 1491"/>
                <a:gd name="T72" fmla="*/ 497 w 687"/>
                <a:gd name="T73" fmla="*/ 1163 h 1491"/>
                <a:gd name="T74" fmla="*/ 433 w 687"/>
                <a:gd name="T75" fmla="*/ 1089 h 1491"/>
                <a:gd name="T76" fmla="*/ 497 w 687"/>
                <a:gd name="T77" fmla="*/ 1163 h 1491"/>
                <a:gd name="T78" fmla="*/ 433 w 687"/>
                <a:gd name="T79" fmla="*/ 1057 h 1491"/>
                <a:gd name="T80" fmla="*/ 497 w 687"/>
                <a:gd name="T81" fmla="*/ 983 h 1491"/>
                <a:gd name="T82" fmla="*/ 497 w 687"/>
                <a:gd name="T83" fmla="*/ 952 h 1491"/>
                <a:gd name="T84" fmla="*/ 433 w 687"/>
                <a:gd name="T85" fmla="*/ 867 h 1491"/>
                <a:gd name="T86" fmla="*/ 497 w 687"/>
                <a:gd name="T87" fmla="*/ 952 h 1491"/>
                <a:gd name="T88" fmla="*/ 433 w 687"/>
                <a:gd name="T89" fmla="*/ 835 h 1491"/>
                <a:gd name="T90" fmla="*/ 497 w 687"/>
                <a:gd name="T91" fmla="*/ 761 h 1491"/>
                <a:gd name="T92" fmla="*/ 497 w 687"/>
                <a:gd name="T93" fmla="*/ 730 h 1491"/>
                <a:gd name="T94" fmla="*/ 433 w 687"/>
                <a:gd name="T95" fmla="*/ 656 h 1491"/>
                <a:gd name="T96" fmla="*/ 497 w 687"/>
                <a:gd name="T97" fmla="*/ 730 h 1491"/>
                <a:gd name="T98" fmla="*/ 433 w 687"/>
                <a:gd name="T99" fmla="*/ 624 h 1491"/>
                <a:gd name="T100" fmla="*/ 497 w 687"/>
                <a:gd name="T101" fmla="*/ 539 h 1491"/>
                <a:gd name="T102" fmla="*/ 497 w 687"/>
                <a:gd name="T103" fmla="*/ 518 h 1491"/>
                <a:gd name="T104" fmla="*/ 433 w 687"/>
                <a:gd name="T105" fmla="*/ 434 h 1491"/>
                <a:gd name="T106" fmla="*/ 497 w 687"/>
                <a:gd name="T107" fmla="*/ 518 h 1491"/>
                <a:gd name="T108" fmla="*/ 433 w 687"/>
                <a:gd name="T109" fmla="*/ 402 h 1491"/>
                <a:gd name="T110" fmla="*/ 497 w 687"/>
                <a:gd name="T111" fmla="*/ 328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7" h="1491">
                  <a:moveTo>
                    <a:pt x="370" y="201"/>
                  </a:moveTo>
                  <a:lnTo>
                    <a:pt x="370" y="85"/>
                  </a:lnTo>
                  <a:lnTo>
                    <a:pt x="296" y="85"/>
                  </a:lnTo>
                  <a:lnTo>
                    <a:pt x="296" y="201"/>
                  </a:lnTo>
                  <a:lnTo>
                    <a:pt x="254" y="201"/>
                  </a:lnTo>
                  <a:lnTo>
                    <a:pt x="254" y="0"/>
                  </a:lnTo>
                  <a:lnTo>
                    <a:pt x="169" y="0"/>
                  </a:lnTo>
                  <a:lnTo>
                    <a:pt x="169" y="201"/>
                  </a:lnTo>
                  <a:lnTo>
                    <a:pt x="0" y="201"/>
                  </a:lnTo>
                  <a:lnTo>
                    <a:pt x="0" y="1491"/>
                  </a:lnTo>
                  <a:lnTo>
                    <a:pt x="687" y="1491"/>
                  </a:lnTo>
                  <a:lnTo>
                    <a:pt x="687" y="201"/>
                  </a:lnTo>
                  <a:lnTo>
                    <a:pt x="370" y="201"/>
                  </a:lnTo>
                  <a:close/>
                  <a:moveTo>
                    <a:pt x="370" y="1385"/>
                  </a:moveTo>
                  <a:lnTo>
                    <a:pt x="317" y="1385"/>
                  </a:lnTo>
                  <a:lnTo>
                    <a:pt x="317" y="1300"/>
                  </a:lnTo>
                  <a:lnTo>
                    <a:pt x="370" y="1300"/>
                  </a:lnTo>
                  <a:lnTo>
                    <a:pt x="370" y="1385"/>
                  </a:lnTo>
                  <a:close/>
                  <a:moveTo>
                    <a:pt x="370" y="1269"/>
                  </a:moveTo>
                  <a:lnTo>
                    <a:pt x="317" y="1269"/>
                  </a:lnTo>
                  <a:lnTo>
                    <a:pt x="317" y="1195"/>
                  </a:lnTo>
                  <a:lnTo>
                    <a:pt x="370" y="1195"/>
                  </a:lnTo>
                  <a:lnTo>
                    <a:pt x="370" y="1269"/>
                  </a:lnTo>
                  <a:close/>
                  <a:moveTo>
                    <a:pt x="370" y="1163"/>
                  </a:moveTo>
                  <a:lnTo>
                    <a:pt x="317" y="1163"/>
                  </a:lnTo>
                  <a:lnTo>
                    <a:pt x="317" y="1089"/>
                  </a:lnTo>
                  <a:lnTo>
                    <a:pt x="370" y="1089"/>
                  </a:lnTo>
                  <a:lnTo>
                    <a:pt x="370" y="1163"/>
                  </a:lnTo>
                  <a:close/>
                  <a:moveTo>
                    <a:pt x="370" y="1057"/>
                  </a:moveTo>
                  <a:lnTo>
                    <a:pt x="317" y="1057"/>
                  </a:lnTo>
                  <a:lnTo>
                    <a:pt x="317" y="983"/>
                  </a:lnTo>
                  <a:lnTo>
                    <a:pt x="370" y="983"/>
                  </a:lnTo>
                  <a:lnTo>
                    <a:pt x="370" y="1057"/>
                  </a:lnTo>
                  <a:close/>
                  <a:moveTo>
                    <a:pt x="370" y="952"/>
                  </a:moveTo>
                  <a:lnTo>
                    <a:pt x="317" y="952"/>
                  </a:lnTo>
                  <a:lnTo>
                    <a:pt x="317" y="867"/>
                  </a:lnTo>
                  <a:lnTo>
                    <a:pt x="370" y="867"/>
                  </a:lnTo>
                  <a:lnTo>
                    <a:pt x="370" y="952"/>
                  </a:lnTo>
                  <a:close/>
                  <a:moveTo>
                    <a:pt x="370" y="835"/>
                  </a:moveTo>
                  <a:lnTo>
                    <a:pt x="317" y="835"/>
                  </a:lnTo>
                  <a:lnTo>
                    <a:pt x="317" y="761"/>
                  </a:lnTo>
                  <a:lnTo>
                    <a:pt x="370" y="761"/>
                  </a:lnTo>
                  <a:lnTo>
                    <a:pt x="370" y="835"/>
                  </a:lnTo>
                  <a:close/>
                  <a:moveTo>
                    <a:pt x="370" y="730"/>
                  </a:moveTo>
                  <a:lnTo>
                    <a:pt x="317" y="730"/>
                  </a:lnTo>
                  <a:lnTo>
                    <a:pt x="317" y="656"/>
                  </a:lnTo>
                  <a:lnTo>
                    <a:pt x="370" y="656"/>
                  </a:lnTo>
                  <a:lnTo>
                    <a:pt x="370" y="730"/>
                  </a:lnTo>
                  <a:close/>
                  <a:moveTo>
                    <a:pt x="370" y="624"/>
                  </a:moveTo>
                  <a:lnTo>
                    <a:pt x="317" y="624"/>
                  </a:lnTo>
                  <a:lnTo>
                    <a:pt x="317" y="539"/>
                  </a:lnTo>
                  <a:lnTo>
                    <a:pt x="370" y="539"/>
                  </a:lnTo>
                  <a:lnTo>
                    <a:pt x="370" y="624"/>
                  </a:lnTo>
                  <a:close/>
                  <a:moveTo>
                    <a:pt x="370" y="518"/>
                  </a:moveTo>
                  <a:lnTo>
                    <a:pt x="317" y="518"/>
                  </a:lnTo>
                  <a:lnTo>
                    <a:pt x="317" y="434"/>
                  </a:lnTo>
                  <a:lnTo>
                    <a:pt x="370" y="434"/>
                  </a:lnTo>
                  <a:lnTo>
                    <a:pt x="370" y="518"/>
                  </a:lnTo>
                  <a:close/>
                  <a:moveTo>
                    <a:pt x="370" y="402"/>
                  </a:moveTo>
                  <a:lnTo>
                    <a:pt x="317" y="402"/>
                  </a:lnTo>
                  <a:lnTo>
                    <a:pt x="317" y="328"/>
                  </a:lnTo>
                  <a:lnTo>
                    <a:pt x="370" y="328"/>
                  </a:lnTo>
                  <a:lnTo>
                    <a:pt x="370" y="402"/>
                  </a:lnTo>
                  <a:close/>
                  <a:moveTo>
                    <a:pt x="497" y="1385"/>
                  </a:moveTo>
                  <a:lnTo>
                    <a:pt x="433" y="1385"/>
                  </a:lnTo>
                  <a:lnTo>
                    <a:pt x="433" y="1300"/>
                  </a:lnTo>
                  <a:lnTo>
                    <a:pt x="497" y="1300"/>
                  </a:lnTo>
                  <a:lnTo>
                    <a:pt x="497" y="1385"/>
                  </a:lnTo>
                  <a:close/>
                  <a:moveTo>
                    <a:pt x="497" y="1269"/>
                  </a:moveTo>
                  <a:lnTo>
                    <a:pt x="433" y="1269"/>
                  </a:lnTo>
                  <a:lnTo>
                    <a:pt x="433" y="1195"/>
                  </a:lnTo>
                  <a:lnTo>
                    <a:pt x="497" y="1195"/>
                  </a:lnTo>
                  <a:lnTo>
                    <a:pt x="497" y="1269"/>
                  </a:lnTo>
                  <a:close/>
                  <a:moveTo>
                    <a:pt x="497" y="1163"/>
                  </a:moveTo>
                  <a:lnTo>
                    <a:pt x="433" y="1163"/>
                  </a:lnTo>
                  <a:lnTo>
                    <a:pt x="433" y="1089"/>
                  </a:lnTo>
                  <a:lnTo>
                    <a:pt x="497" y="1089"/>
                  </a:lnTo>
                  <a:lnTo>
                    <a:pt x="497" y="1163"/>
                  </a:lnTo>
                  <a:close/>
                  <a:moveTo>
                    <a:pt x="497" y="1057"/>
                  </a:moveTo>
                  <a:lnTo>
                    <a:pt x="433" y="1057"/>
                  </a:lnTo>
                  <a:lnTo>
                    <a:pt x="433" y="983"/>
                  </a:lnTo>
                  <a:lnTo>
                    <a:pt x="497" y="983"/>
                  </a:lnTo>
                  <a:lnTo>
                    <a:pt x="497" y="1057"/>
                  </a:lnTo>
                  <a:close/>
                  <a:moveTo>
                    <a:pt x="497" y="952"/>
                  </a:moveTo>
                  <a:lnTo>
                    <a:pt x="433" y="952"/>
                  </a:lnTo>
                  <a:lnTo>
                    <a:pt x="433" y="867"/>
                  </a:lnTo>
                  <a:lnTo>
                    <a:pt x="497" y="867"/>
                  </a:lnTo>
                  <a:lnTo>
                    <a:pt x="497" y="952"/>
                  </a:lnTo>
                  <a:close/>
                  <a:moveTo>
                    <a:pt x="497" y="835"/>
                  </a:moveTo>
                  <a:lnTo>
                    <a:pt x="433" y="835"/>
                  </a:lnTo>
                  <a:lnTo>
                    <a:pt x="433" y="761"/>
                  </a:lnTo>
                  <a:lnTo>
                    <a:pt x="497" y="761"/>
                  </a:lnTo>
                  <a:lnTo>
                    <a:pt x="497" y="835"/>
                  </a:lnTo>
                  <a:close/>
                  <a:moveTo>
                    <a:pt x="497" y="730"/>
                  </a:moveTo>
                  <a:lnTo>
                    <a:pt x="433" y="730"/>
                  </a:lnTo>
                  <a:lnTo>
                    <a:pt x="433" y="656"/>
                  </a:lnTo>
                  <a:lnTo>
                    <a:pt x="497" y="656"/>
                  </a:lnTo>
                  <a:lnTo>
                    <a:pt x="497" y="730"/>
                  </a:lnTo>
                  <a:close/>
                  <a:moveTo>
                    <a:pt x="497" y="624"/>
                  </a:moveTo>
                  <a:lnTo>
                    <a:pt x="433" y="624"/>
                  </a:lnTo>
                  <a:lnTo>
                    <a:pt x="433" y="539"/>
                  </a:lnTo>
                  <a:lnTo>
                    <a:pt x="497" y="539"/>
                  </a:lnTo>
                  <a:lnTo>
                    <a:pt x="497" y="624"/>
                  </a:lnTo>
                  <a:close/>
                  <a:moveTo>
                    <a:pt x="497" y="518"/>
                  </a:moveTo>
                  <a:lnTo>
                    <a:pt x="433" y="518"/>
                  </a:lnTo>
                  <a:lnTo>
                    <a:pt x="433" y="434"/>
                  </a:lnTo>
                  <a:lnTo>
                    <a:pt x="497" y="434"/>
                  </a:lnTo>
                  <a:lnTo>
                    <a:pt x="497" y="518"/>
                  </a:lnTo>
                  <a:close/>
                  <a:moveTo>
                    <a:pt x="497" y="402"/>
                  </a:moveTo>
                  <a:lnTo>
                    <a:pt x="433" y="402"/>
                  </a:lnTo>
                  <a:lnTo>
                    <a:pt x="433" y="328"/>
                  </a:lnTo>
                  <a:lnTo>
                    <a:pt x="497" y="328"/>
                  </a:lnTo>
                  <a:lnTo>
                    <a:pt x="497" y="402"/>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41" name="Freeform 10">
              <a:extLst>
                <a:ext uri="{FF2B5EF4-FFF2-40B4-BE49-F238E27FC236}">
                  <a16:creationId xmlns:a16="http://schemas.microsoft.com/office/drawing/2014/main" id="{3E09F97E-B45C-13E5-988A-DFD9828E7207}"/>
                </a:ext>
              </a:extLst>
            </p:cNvPr>
            <p:cNvSpPr>
              <a:spLocks noEditPoints="1"/>
            </p:cNvSpPr>
            <p:nvPr/>
          </p:nvSpPr>
          <p:spPr bwMode="auto">
            <a:xfrm>
              <a:off x="5322503" y="2044631"/>
              <a:ext cx="543718" cy="2416233"/>
            </a:xfrm>
            <a:custGeom>
              <a:avLst/>
              <a:gdLst>
                <a:gd name="T0" fmla="*/ 687 w 687"/>
                <a:gd name="T1" fmla="*/ 4407 h 4407"/>
                <a:gd name="T2" fmla="*/ 433 w 687"/>
                <a:gd name="T3" fmla="*/ 4302 h 4407"/>
                <a:gd name="T4" fmla="*/ 624 w 687"/>
                <a:gd name="T5" fmla="*/ 3667 h 4407"/>
                <a:gd name="T6" fmla="*/ 507 w 687"/>
                <a:gd name="T7" fmla="*/ 444 h 4407"/>
                <a:gd name="T8" fmla="*/ 507 w 687"/>
                <a:gd name="T9" fmla="*/ 740 h 4407"/>
                <a:gd name="T10" fmla="*/ 581 w 687"/>
                <a:gd name="T11" fmla="*/ 972 h 4407"/>
                <a:gd name="T12" fmla="*/ 581 w 687"/>
                <a:gd name="T13" fmla="*/ 1247 h 4407"/>
                <a:gd name="T14" fmla="*/ 507 w 687"/>
                <a:gd name="T15" fmla="*/ 1480 h 4407"/>
                <a:gd name="T16" fmla="*/ 507 w 687"/>
                <a:gd name="T17" fmla="*/ 1638 h 4407"/>
                <a:gd name="T18" fmla="*/ 507 w 687"/>
                <a:gd name="T19" fmla="*/ 1934 h 4407"/>
                <a:gd name="T20" fmla="*/ 581 w 687"/>
                <a:gd name="T21" fmla="*/ 2251 h 4407"/>
                <a:gd name="T22" fmla="*/ 581 w 687"/>
                <a:gd name="T23" fmla="*/ 2515 h 4407"/>
                <a:gd name="T24" fmla="*/ 507 w 687"/>
                <a:gd name="T25" fmla="*/ 2759 h 4407"/>
                <a:gd name="T26" fmla="*/ 507 w 687"/>
                <a:gd name="T27" fmla="*/ 2917 h 4407"/>
                <a:gd name="T28" fmla="*/ 507 w 687"/>
                <a:gd name="T29" fmla="*/ 3202 h 4407"/>
                <a:gd name="T30" fmla="*/ 486 w 687"/>
                <a:gd name="T31" fmla="*/ 497 h 4407"/>
                <a:gd name="T32" fmla="*/ 486 w 687"/>
                <a:gd name="T33" fmla="*/ 687 h 4407"/>
                <a:gd name="T34" fmla="*/ 402 w 687"/>
                <a:gd name="T35" fmla="*/ 930 h 4407"/>
                <a:gd name="T36" fmla="*/ 402 w 687"/>
                <a:gd name="T37" fmla="*/ 1089 h 4407"/>
                <a:gd name="T38" fmla="*/ 402 w 687"/>
                <a:gd name="T39" fmla="*/ 1533 h 4407"/>
                <a:gd name="T40" fmla="*/ 486 w 687"/>
                <a:gd name="T41" fmla="*/ 1850 h 4407"/>
                <a:gd name="T42" fmla="*/ 486 w 687"/>
                <a:gd name="T43" fmla="*/ 2124 h 4407"/>
                <a:gd name="T44" fmla="*/ 402 w 687"/>
                <a:gd name="T45" fmla="*/ 2441 h 4407"/>
                <a:gd name="T46" fmla="*/ 402 w 687"/>
                <a:gd name="T47" fmla="*/ 2674 h 4407"/>
                <a:gd name="T48" fmla="*/ 402 w 687"/>
                <a:gd name="T49" fmla="*/ 3044 h 4407"/>
                <a:gd name="T50" fmla="*/ 381 w 687"/>
                <a:gd name="T51" fmla="*/ 412 h 4407"/>
                <a:gd name="T52" fmla="*/ 381 w 687"/>
                <a:gd name="T53" fmla="*/ 602 h 4407"/>
                <a:gd name="T54" fmla="*/ 307 w 687"/>
                <a:gd name="T55" fmla="*/ 930 h 4407"/>
                <a:gd name="T56" fmla="*/ 307 w 687"/>
                <a:gd name="T57" fmla="*/ 1089 h 4407"/>
                <a:gd name="T58" fmla="*/ 307 w 687"/>
                <a:gd name="T59" fmla="*/ 1374 h 4407"/>
                <a:gd name="T60" fmla="*/ 381 w 687"/>
                <a:gd name="T61" fmla="*/ 1607 h 4407"/>
                <a:gd name="T62" fmla="*/ 381 w 687"/>
                <a:gd name="T63" fmla="*/ 1797 h 4407"/>
                <a:gd name="T64" fmla="*/ 307 w 687"/>
                <a:gd name="T65" fmla="*/ 2040 h 4407"/>
                <a:gd name="T66" fmla="*/ 307 w 687"/>
                <a:gd name="T67" fmla="*/ 2198 h 4407"/>
                <a:gd name="T68" fmla="*/ 307 w 687"/>
                <a:gd name="T69" fmla="*/ 2484 h 4407"/>
                <a:gd name="T70" fmla="*/ 381 w 687"/>
                <a:gd name="T71" fmla="*/ 2727 h 4407"/>
                <a:gd name="T72" fmla="*/ 381 w 687"/>
                <a:gd name="T73" fmla="*/ 2917 h 4407"/>
                <a:gd name="T74" fmla="*/ 307 w 687"/>
                <a:gd name="T75" fmla="*/ 3160 h 4407"/>
                <a:gd name="T76" fmla="*/ 211 w 687"/>
                <a:gd name="T77" fmla="*/ 444 h 4407"/>
                <a:gd name="T78" fmla="*/ 211 w 687"/>
                <a:gd name="T79" fmla="*/ 740 h 4407"/>
                <a:gd name="T80" fmla="*/ 285 w 687"/>
                <a:gd name="T81" fmla="*/ 1057 h 4407"/>
                <a:gd name="T82" fmla="*/ 285 w 687"/>
                <a:gd name="T83" fmla="*/ 1247 h 4407"/>
                <a:gd name="T84" fmla="*/ 211 w 687"/>
                <a:gd name="T85" fmla="*/ 1480 h 4407"/>
                <a:gd name="T86" fmla="*/ 211 w 687"/>
                <a:gd name="T87" fmla="*/ 1638 h 4407"/>
                <a:gd name="T88" fmla="*/ 211 w 687"/>
                <a:gd name="T89" fmla="*/ 1934 h 4407"/>
                <a:gd name="T90" fmla="*/ 285 w 687"/>
                <a:gd name="T91" fmla="*/ 2251 h 4407"/>
                <a:gd name="T92" fmla="*/ 285 w 687"/>
                <a:gd name="T93" fmla="*/ 2515 h 4407"/>
                <a:gd name="T94" fmla="*/ 211 w 687"/>
                <a:gd name="T95" fmla="*/ 2759 h 4407"/>
                <a:gd name="T96" fmla="*/ 211 w 687"/>
                <a:gd name="T97" fmla="*/ 2991 h 4407"/>
                <a:gd name="T98" fmla="*/ 190 w 687"/>
                <a:gd name="T99" fmla="*/ 3667 h 4407"/>
                <a:gd name="T100" fmla="*/ 190 w 687"/>
                <a:gd name="T101" fmla="*/ 497 h 4407"/>
                <a:gd name="T102" fmla="*/ 190 w 687"/>
                <a:gd name="T103" fmla="*/ 687 h 4407"/>
                <a:gd name="T104" fmla="*/ 116 w 687"/>
                <a:gd name="T105" fmla="*/ 930 h 4407"/>
                <a:gd name="T106" fmla="*/ 116 w 687"/>
                <a:gd name="T107" fmla="*/ 1163 h 4407"/>
                <a:gd name="T108" fmla="*/ 116 w 687"/>
                <a:gd name="T109" fmla="*/ 1448 h 4407"/>
                <a:gd name="T110" fmla="*/ 190 w 687"/>
                <a:gd name="T111" fmla="*/ 1776 h 4407"/>
                <a:gd name="T112" fmla="*/ 190 w 687"/>
                <a:gd name="T113" fmla="*/ 1966 h 4407"/>
                <a:gd name="T114" fmla="*/ 116 w 687"/>
                <a:gd name="T115" fmla="*/ 2198 h 4407"/>
                <a:gd name="T116" fmla="*/ 116 w 687"/>
                <a:gd name="T117" fmla="*/ 2357 h 4407"/>
                <a:gd name="T118" fmla="*/ 116 w 687"/>
                <a:gd name="T119" fmla="*/ 2642 h 4407"/>
                <a:gd name="T120" fmla="*/ 190 w 687"/>
                <a:gd name="T121" fmla="*/ 2885 h 4407"/>
                <a:gd name="T122" fmla="*/ 190 w 687"/>
                <a:gd name="T123" fmla="*/ 3160 h 4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7" h="4407">
                  <a:moveTo>
                    <a:pt x="0" y="4407"/>
                  </a:moveTo>
                  <a:lnTo>
                    <a:pt x="190" y="4407"/>
                  </a:lnTo>
                  <a:lnTo>
                    <a:pt x="190" y="4365"/>
                  </a:lnTo>
                  <a:lnTo>
                    <a:pt x="254" y="4365"/>
                  </a:lnTo>
                  <a:lnTo>
                    <a:pt x="254" y="4407"/>
                  </a:lnTo>
                  <a:lnTo>
                    <a:pt x="317" y="4407"/>
                  </a:lnTo>
                  <a:lnTo>
                    <a:pt x="317" y="4365"/>
                  </a:lnTo>
                  <a:lnTo>
                    <a:pt x="370" y="4365"/>
                  </a:lnTo>
                  <a:lnTo>
                    <a:pt x="370" y="4407"/>
                  </a:lnTo>
                  <a:lnTo>
                    <a:pt x="560" y="4407"/>
                  </a:lnTo>
                  <a:lnTo>
                    <a:pt x="560" y="4365"/>
                  </a:lnTo>
                  <a:lnTo>
                    <a:pt x="624" y="4365"/>
                  </a:lnTo>
                  <a:lnTo>
                    <a:pt x="624" y="4407"/>
                  </a:lnTo>
                  <a:lnTo>
                    <a:pt x="687" y="4407"/>
                  </a:lnTo>
                  <a:lnTo>
                    <a:pt x="687" y="3213"/>
                  </a:lnTo>
                  <a:lnTo>
                    <a:pt x="687" y="3213"/>
                  </a:lnTo>
                  <a:lnTo>
                    <a:pt x="687" y="0"/>
                  </a:lnTo>
                  <a:lnTo>
                    <a:pt x="0" y="233"/>
                  </a:lnTo>
                  <a:lnTo>
                    <a:pt x="0" y="3213"/>
                  </a:lnTo>
                  <a:lnTo>
                    <a:pt x="0" y="3213"/>
                  </a:lnTo>
                  <a:lnTo>
                    <a:pt x="0" y="4407"/>
                  </a:lnTo>
                  <a:close/>
                  <a:moveTo>
                    <a:pt x="370" y="3995"/>
                  </a:moveTo>
                  <a:lnTo>
                    <a:pt x="317" y="3995"/>
                  </a:lnTo>
                  <a:lnTo>
                    <a:pt x="317" y="3731"/>
                  </a:lnTo>
                  <a:lnTo>
                    <a:pt x="370" y="3731"/>
                  </a:lnTo>
                  <a:lnTo>
                    <a:pt x="370" y="3995"/>
                  </a:lnTo>
                  <a:close/>
                  <a:moveTo>
                    <a:pt x="497" y="4302"/>
                  </a:moveTo>
                  <a:lnTo>
                    <a:pt x="433" y="4302"/>
                  </a:lnTo>
                  <a:lnTo>
                    <a:pt x="433" y="4037"/>
                  </a:lnTo>
                  <a:lnTo>
                    <a:pt x="497" y="4037"/>
                  </a:lnTo>
                  <a:lnTo>
                    <a:pt x="497" y="4302"/>
                  </a:lnTo>
                  <a:close/>
                  <a:moveTo>
                    <a:pt x="624" y="4302"/>
                  </a:moveTo>
                  <a:lnTo>
                    <a:pt x="560" y="4302"/>
                  </a:lnTo>
                  <a:lnTo>
                    <a:pt x="560" y="4037"/>
                  </a:lnTo>
                  <a:lnTo>
                    <a:pt x="624" y="4037"/>
                  </a:lnTo>
                  <a:lnTo>
                    <a:pt x="624" y="4302"/>
                  </a:lnTo>
                  <a:close/>
                  <a:moveTo>
                    <a:pt x="624" y="3995"/>
                  </a:moveTo>
                  <a:lnTo>
                    <a:pt x="560" y="3995"/>
                  </a:lnTo>
                  <a:lnTo>
                    <a:pt x="560" y="3731"/>
                  </a:lnTo>
                  <a:lnTo>
                    <a:pt x="624" y="3731"/>
                  </a:lnTo>
                  <a:lnTo>
                    <a:pt x="624" y="3995"/>
                  </a:lnTo>
                  <a:close/>
                  <a:moveTo>
                    <a:pt x="624" y="3667"/>
                  </a:moveTo>
                  <a:lnTo>
                    <a:pt x="560" y="3667"/>
                  </a:lnTo>
                  <a:lnTo>
                    <a:pt x="560" y="3403"/>
                  </a:lnTo>
                  <a:lnTo>
                    <a:pt x="624" y="3403"/>
                  </a:lnTo>
                  <a:lnTo>
                    <a:pt x="624" y="3667"/>
                  </a:lnTo>
                  <a:close/>
                  <a:moveTo>
                    <a:pt x="507" y="370"/>
                  </a:moveTo>
                  <a:lnTo>
                    <a:pt x="581" y="370"/>
                  </a:lnTo>
                  <a:lnTo>
                    <a:pt x="581" y="412"/>
                  </a:lnTo>
                  <a:lnTo>
                    <a:pt x="507" y="412"/>
                  </a:lnTo>
                  <a:lnTo>
                    <a:pt x="507" y="370"/>
                  </a:lnTo>
                  <a:close/>
                  <a:moveTo>
                    <a:pt x="507" y="444"/>
                  </a:moveTo>
                  <a:lnTo>
                    <a:pt x="581" y="444"/>
                  </a:lnTo>
                  <a:lnTo>
                    <a:pt x="581" y="497"/>
                  </a:lnTo>
                  <a:lnTo>
                    <a:pt x="507" y="497"/>
                  </a:lnTo>
                  <a:lnTo>
                    <a:pt x="507" y="444"/>
                  </a:lnTo>
                  <a:close/>
                  <a:moveTo>
                    <a:pt x="507" y="529"/>
                  </a:moveTo>
                  <a:lnTo>
                    <a:pt x="581" y="529"/>
                  </a:lnTo>
                  <a:lnTo>
                    <a:pt x="581" y="571"/>
                  </a:lnTo>
                  <a:lnTo>
                    <a:pt x="507" y="571"/>
                  </a:lnTo>
                  <a:lnTo>
                    <a:pt x="507" y="529"/>
                  </a:lnTo>
                  <a:close/>
                  <a:moveTo>
                    <a:pt x="507" y="602"/>
                  </a:moveTo>
                  <a:lnTo>
                    <a:pt x="581" y="602"/>
                  </a:lnTo>
                  <a:lnTo>
                    <a:pt x="581" y="655"/>
                  </a:lnTo>
                  <a:lnTo>
                    <a:pt x="507" y="655"/>
                  </a:lnTo>
                  <a:lnTo>
                    <a:pt x="507" y="602"/>
                  </a:lnTo>
                  <a:close/>
                  <a:moveTo>
                    <a:pt x="507" y="687"/>
                  </a:moveTo>
                  <a:lnTo>
                    <a:pt x="581" y="687"/>
                  </a:lnTo>
                  <a:lnTo>
                    <a:pt x="581" y="740"/>
                  </a:lnTo>
                  <a:lnTo>
                    <a:pt x="507" y="740"/>
                  </a:lnTo>
                  <a:lnTo>
                    <a:pt x="507" y="687"/>
                  </a:lnTo>
                  <a:close/>
                  <a:moveTo>
                    <a:pt x="507" y="761"/>
                  </a:moveTo>
                  <a:lnTo>
                    <a:pt x="581" y="761"/>
                  </a:lnTo>
                  <a:lnTo>
                    <a:pt x="581" y="814"/>
                  </a:lnTo>
                  <a:lnTo>
                    <a:pt x="507" y="814"/>
                  </a:lnTo>
                  <a:lnTo>
                    <a:pt x="507" y="761"/>
                  </a:lnTo>
                  <a:close/>
                  <a:moveTo>
                    <a:pt x="507" y="846"/>
                  </a:moveTo>
                  <a:lnTo>
                    <a:pt x="581" y="846"/>
                  </a:lnTo>
                  <a:lnTo>
                    <a:pt x="581" y="898"/>
                  </a:lnTo>
                  <a:lnTo>
                    <a:pt x="507" y="898"/>
                  </a:lnTo>
                  <a:lnTo>
                    <a:pt x="507" y="846"/>
                  </a:lnTo>
                  <a:close/>
                  <a:moveTo>
                    <a:pt x="507" y="930"/>
                  </a:moveTo>
                  <a:lnTo>
                    <a:pt x="581" y="930"/>
                  </a:lnTo>
                  <a:lnTo>
                    <a:pt x="581" y="972"/>
                  </a:lnTo>
                  <a:lnTo>
                    <a:pt x="507" y="972"/>
                  </a:lnTo>
                  <a:lnTo>
                    <a:pt x="507" y="930"/>
                  </a:lnTo>
                  <a:close/>
                  <a:moveTo>
                    <a:pt x="507" y="1004"/>
                  </a:moveTo>
                  <a:lnTo>
                    <a:pt x="581" y="1004"/>
                  </a:lnTo>
                  <a:lnTo>
                    <a:pt x="581" y="1057"/>
                  </a:lnTo>
                  <a:lnTo>
                    <a:pt x="507" y="1057"/>
                  </a:lnTo>
                  <a:lnTo>
                    <a:pt x="507" y="1004"/>
                  </a:lnTo>
                  <a:close/>
                  <a:moveTo>
                    <a:pt x="507" y="1163"/>
                  </a:moveTo>
                  <a:lnTo>
                    <a:pt x="581" y="1163"/>
                  </a:lnTo>
                  <a:lnTo>
                    <a:pt x="581" y="1215"/>
                  </a:lnTo>
                  <a:lnTo>
                    <a:pt x="507" y="1215"/>
                  </a:lnTo>
                  <a:lnTo>
                    <a:pt x="507" y="1163"/>
                  </a:lnTo>
                  <a:close/>
                  <a:moveTo>
                    <a:pt x="507" y="1247"/>
                  </a:moveTo>
                  <a:lnTo>
                    <a:pt x="581" y="1247"/>
                  </a:lnTo>
                  <a:lnTo>
                    <a:pt x="581" y="1289"/>
                  </a:lnTo>
                  <a:lnTo>
                    <a:pt x="507" y="1289"/>
                  </a:lnTo>
                  <a:lnTo>
                    <a:pt x="507" y="1247"/>
                  </a:lnTo>
                  <a:close/>
                  <a:moveTo>
                    <a:pt x="507" y="1321"/>
                  </a:moveTo>
                  <a:lnTo>
                    <a:pt x="581" y="1321"/>
                  </a:lnTo>
                  <a:lnTo>
                    <a:pt x="581" y="1374"/>
                  </a:lnTo>
                  <a:lnTo>
                    <a:pt x="507" y="1374"/>
                  </a:lnTo>
                  <a:lnTo>
                    <a:pt x="507" y="1321"/>
                  </a:lnTo>
                  <a:close/>
                  <a:moveTo>
                    <a:pt x="507" y="1406"/>
                  </a:moveTo>
                  <a:lnTo>
                    <a:pt x="581" y="1406"/>
                  </a:lnTo>
                  <a:lnTo>
                    <a:pt x="581" y="1448"/>
                  </a:lnTo>
                  <a:lnTo>
                    <a:pt x="507" y="1448"/>
                  </a:lnTo>
                  <a:lnTo>
                    <a:pt x="507" y="1406"/>
                  </a:lnTo>
                  <a:close/>
                  <a:moveTo>
                    <a:pt x="507" y="1480"/>
                  </a:moveTo>
                  <a:lnTo>
                    <a:pt x="581" y="1480"/>
                  </a:lnTo>
                  <a:lnTo>
                    <a:pt x="581" y="1533"/>
                  </a:lnTo>
                  <a:lnTo>
                    <a:pt x="507" y="1533"/>
                  </a:lnTo>
                  <a:lnTo>
                    <a:pt x="507" y="1480"/>
                  </a:lnTo>
                  <a:close/>
                  <a:moveTo>
                    <a:pt x="507" y="1564"/>
                  </a:moveTo>
                  <a:lnTo>
                    <a:pt x="581" y="1564"/>
                  </a:lnTo>
                  <a:lnTo>
                    <a:pt x="581" y="1607"/>
                  </a:lnTo>
                  <a:lnTo>
                    <a:pt x="507" y="1607"/>
                  </a:lnTo>
                  <a:lnTo>
                    <a:pt x="507" y="1564"/>
                  </a:lnTo>
                  <a:close/>
                  <a:moveTo>
                    <a:pt x="507" y="1638"/>
                  </a:moveTo>
                  <a:lnTo>
                    <a:pt x="581" y="1638"/>
                  </a:lnTo>
                  <a:lnTo>
                    <a:pt x="581" y="1691"/>
                  </a:lnTo>
                  <a:lnTo>
                    <a:pt x="507" y="1691"/>
                  </a:lnTo>
                  <a:lnTo>
                    <a:pt x="507" y="1638"/>
                  </a:lnTo>
                  <a:close/>
                  <a:moveTo>
                    <a:pt x="507" y="1723"/>
                  </a:moveTo>
                  <a:lnTo>
                    <a:pt x="581" y="1723"/>
                  </a:lnTo>
                  <a:lnTo>
                    <a:pt x="581" y="1776"/>
                  </a:lnTo>
                  <a:lnTo>
                    <a:pt x="507" y="1776"/>
                  </a:lnTo>
                  <a:lnTo>
                    <a:pt x="507" y="1723"/>
                  </a:lnTo>
                  <a:close/>
                  <a:moveTo>
                    <a:pt x="507" y="1797"/>
                  </a:moveTo>
                  <a:lnTo>
                    <a:pt x="581" y="1797"/>
                  </a:lnTo>
                  <a:lnTo>
                    <a:pt x="581" y="1850"/>
                  </a:lnTo>
                  <a:lnTo>
                    <a:pt x="507" y="1850"/>
                  </a:lnTo>
                  <a:lnTo>
                    <a:pt x="507" y="1797"/>
                  </a:lnTo>
                  <a:close/>
                  <a:moveTo>
                    <a:pt x="507" y="1881"/>
                  </a:moveTo>
                  <a:lnTo>
                    <a:pt x="581" y="1881"/>
                  </a:lnTo>
                  <a:lnTo>
                    <a:pt x="581" y="1934"/>
                  </a:lnTo>
                  <a:lnTo>
                    <a:pt x="507" y="1934"/>
                  </a:lnTo>
                  <a:lnTo>
                    <a:pt x="507" y="1881"/>
                  </a:lnTo>
                  <a:close/>
                  <a:moveTo>
                    <a:pt x="507" y="1966"/>
                  </a:moveTo>
                  <a:lnTo>
                    <a:pt x="581" y="1966"/>
                  </a:lnTo>
                  <a:lnTo>
                    <a:pt x="581" y="2008"/>
                  </a:lnTo>
                  <a:lnTo>
                    <a:pt x="507" y="2008"/>
                  </a:lnTo>
                  <a:lnTo>
                    <a:pt x="507" y="1966"/>
                  </a:lnTo>
                  <a:close/>
                  <a:moveTo>
                    <a:pt x="507" y="2040"/>
                  </a:moveTo>
                  <a:lnTo>
                    <a:pt x="581" y="2040"/>
                  </a:lnTo>
                  <a:lnTo>
                    <a:pt x="581" y="2093"/>
                  </a:lnTo>
                  <a:lnTo>
                    <a:pt x="507" y="2093"/>
                  </a:lnTo>
                  <a:lnTo>
                    <a:pt x="507" y="2040"/>
                  </a:lnTo>
                  <a:close/>
                  <a:moveTo>
                    <a:pt x="507" y="2198"/>
                  </a:moveTo>
                  <a:lnTo>
                    <a:pt x="581" y="2198"/>
                  </a:lnTo>
                  <a:lnTo>
                    <a:pt x="581" y="2251"/>
                  </a:lnTo>
                  <a:lnTo>
                    <a:pt x="507" y="2251"/>
                  </a:lnTo>
                  <a:lnTo>
                    <a:pt x="507" y="2198"/>
                  </a:lnTo>
                  <a:close/>
                  <a:moveTo>
                    <a:pt x="507" y="2283"/>
                  </a:moveTo>
                  <a:lnTo>
                    <a:pt x="581" y="2283"/>
                  </a:lnTo>
                  <a:lnTo>
                    <a:pt x="581" y="2325"/>
                  </a:lnTo>
                  <a:lnTo>
                    <a:pt x="507" y="2325"/>
                  </a:lnTo>
                  <a:lnTo>
                    <a:pt x="507" y="2283"/>
                  </a:lnTo>
                  <a:close/>
                  <a:moveTo>
                    <a:pt x="507" y="2441"/>
                  </a:moveTo>
                  <a:lnTo>
                    <a:pt x="581" y="2441"/>
                  </a:lnTo>
                  <a:lnTo>
                    <a:pt x="581" y="2484"/>
                  </a:lnTo>
                  <a:lnTo>
                    <a:pt x="507" y="2484"/>
                  </a:lnTo>
                  <a:lnTo>
                    <a:pt x="507" y="2441"/>
                  </a:lnTo>
                  <a:close/>
                  <a:moveTo>
                    <a:pt x="507" y="2515"/>
                  </a:moveTo>
                  <a:lnTo>
                    <a:pt x="581" y="2515"/>
                  </a:lnTo>
                  <a:lnTo>
                    <a:pt x="581" y="2568"/>
                  </a:lnTo>
                  <a:lnTo>
                    <a:pt x="507" y="2568"/>
                  </a:lnTo>
                  <a:lnTo>
                    <a:pt x="507" y="2515"/>
                  </a:lnTo>
                  <a:close/>
                  <a:moveTo>
                    <a:pt x="507" y="2600"/>
                  </a:moveTo>
                  <a:lnTo>
                    <a:pt x="581" y="2600"/>
                  </a:lnTo>
                  <a:lnTo>
                    <a:pt x="581" y="2642"/>
                  </a:lnTo>
                  <a:lnTo>
                    <a:pt x="507" y="2642"/>
                  </a:lnTo>
                  <a:lnTo>
                    <a:pt x="507" y="2600"/>
                  </a:lnTo>
                  <a:close/>
                  <a:moveTo>
                    <a:pt x="507" y="2674"/>
                  </a:moveTo>
                  <a:lnTo>
                    <a:pt x="581" y="2674"/>
                  </a:lnTo>
                  <a:lnTo>
                    <a:pt x="581" y="2727"/>
                  </a:lnTo>
                  <a:lnTo>
                    <a:pt x="507" y="2727"/>
                  </a:lnTo>
                  <a:lnTo>
                    <a:pt x="507" y="2674"/>
                  </a:lnTo>
                  <a:close/>
                  <a:moveTo>
                    <a:pt x="507" y="2759"/>
                  </a:moveTo>
                  <a:lnTo>
                    <a:pt x="581" y="2759"/>
                  </a:lnTo>
                  <a:lnTo>
                    <a:pt x="581" y="2801"/>
                  </a:lnTo>
                  <a:lnTo>
                    <a:pt x="507" y="2801"/>
                  </a:lnTo>
                  <a:lnTo>
                    <a:pt x="507" y="2759"/>
                  </a:lnTo>
                  <a:close/>
                  <a:moveTo>
                    <a:pt x="507" y="2833"/>
                  </a:moveTo>
                  <a:lnTo>
                    <a:pt x="581" y="2833"/>
                  </a:lnTo>
                  <a:lnTo>
                    <a:pt x="581" y="2885"/>
                  </a:lnTo>
                  <a:lnTo>
                    <a:pt x="507" y="2885"/>
                  </a:lnTo>
                  <a:lnTo>
                    <a:pt x="507" y="2833"/>
                  </a:lnTo>
                  <a:close/>
                  <a:moveTo>
                    <a:pt x="507" y="2917"/>
                  </a:moveTo>
                  <a:lnTo>
                    <a:pt x="581" y="2917"/>
                  </a:lnTo>
                  <a:lnTo>
                    <a:pt x="581" y="2970"/>
                  </a:lnTo>
                  <a:lnTo>
                    <a:pt x="507" y="2970"/>
                  </a:lnTo>
                  <a:lnTo>
                    <a:pt x="507" y="2917"/>
                  </a:lnTo>
                  <a:close/>
                  <a:moveTo>
                    <a:pt x="507" y="2991"/>
                  </a:moveTo>
                  <a:lnTo>
                    <a:pt x="581" y="2991"/>
                  </a:lnTo>
                  <a:lnTo>
                    <a:pt x="581" y="3044"/>
                  </a:lnTo>
                  <a:lnTo>
                    <a:pt x="507" y="3044"/>
                  </a:lnTo>
                  <a:lnTo>
                    <a:pt x="507" y="2991"/>
                  </a:lnTo>
                  <a:close/>
                  <a:moveTo>
                    <a:pt x="507" y="3076"/>
                  </a:moveTo>
                  <a:lnTo>
                    <a:pt x="581" y="3076"/>
                  </a:lnTo>
                  <a:lnTo>
                    <a:pt x="581" y="3128"/>
                  </a:lnTo>
                  <a:lnTo>
                    <a:pt x="507" y="3128"/>
                  </a:lnTo>
                  <a:lnTo>
                    <a:pt x="507" y="3076"/>
                  </a:lnTo>
                  <a:close/>
                  <a:moveTo>
                    <a:pt x="507" y="3160"/>
                  </a:moveTo>
                  <a:lnTo>
                    <a:pt x="581" y="3160"/>
                  </a:lnTo>
                  <a:lnTo>
                    <a:pt x="581" y="3202"/>
                  </a:lnTo>
                  <a:lnTo>
                    <a:pt x="507" y="3202"/>
                  </a:lnTo>
                  <a:lnTo>
                    <a:pt x="507" y="3160"/>
                  </a:lnTo>
                  <a:close/>
                  <a:moveTo>
                    <a:pt x="497" y="3667"/>
                  </a:moveTo>
                  <a:lnTo>
                    <a:pt x="433" y="3667"/>
                  </a:lnTo>
                  <a:lnTo>
                    <a:pt x="433" y="3403"/>
                  </a:lnTo>
                  <a:lnTo>
                    <a:pt x="497" y="3403"/>
                  </a:lnTo>
                  <a:lnTo>
                    <a:pt x="497" y="3667"/>
                  </a:lnTo>
                  <a:close/>
                  <a:moveTo>
                    <a:pt x="402" y="370"/>
                  </a:moveTo>
                  <a:lnTo>
                    <a:pt x="486" y="370"/>
                  </a:lnTo>
                  <a:lnTo>
                    <a:pt x="486" y="412"/>
                  </a:lnTo>
                  <a:lnTo>
                    <a:pt x="402" y="412"/>
                  </a:lnTo>
                  <a:lnTo>
                    <a:pt x="402" y="370"/>
                  </a:lnTo>
                  <a:close/>
                  <a:moveTo>
                    <a:pt x="402" y="444"/>
                  </a:moveTo>
                  <a:lnTo>
                    <a:pt x="486" y="444"/>
                  </a:lnTo>
                  <a:lnTo>
                    <a:pt x="486" y="497"/>
                  </a:lnTo>
                  <a:lnTo>
                    <a:pt x="402" y="497"/>
                  </a:lnTo>
                  <a:lnTo>
                    <a:pt x="402" y="444"/>
                  </a:lnTo>
                  <a:close/>
                  <a:moveTo>
                    <a:pt x="402" y="529"/>
                  </a:moveTo>
                  <a:lnTo>
                    <a:pt x="486" y="529"/>
                  </a:lnTo>
                  <a:lnTo>
                    <a:pt x="486" y="571"/>
                  </a:lnTo>
                  <a:lnTo>
                    <a:pt x="402" y="571"/>
                  </a:lnTo>
                  <a:lnTo>
                    <a:pt x="402" y="529"/>
                  </a:lnTo>
                  <a:close/>
                  <a:moveTo>
                    <a:pt x="402" y="602"/>
                  </a:moveTo>
                  <a:lnTo>
                    <a:pt x="486" y="602"/>
                  </a:lnTo>
                  <a:lnTo>
                    <a:pt x="486" y="655"/>
                  </a:lnTo>
                  <a:lnTo>
                    <a:pt x="402" y="655"/>
                  </a:lnTo>
                  <a:lnTo>
                    <a:pt x="402" y="602"/>
                  </a:lnTo>
                  <a:close/>
                  <a:moveTo>
                    <a:pt x="402" y="687"/>
                  </a:moveTo>
                  <a:lnTo>
                    <a:pt x="486" y="687"/>
                  </a:lnTo>
                  <a:lnTo>
                    <a:pt x="486" y="740"/>
                  </a:lnTo>
                  <a:lnTo>
                    <a:pt x="402" y="740"/>
                  </a:lnTo>
                  <a:lnTo>
                    <a:pt x="402" y="687"/>
                  </a:lnTo>
                  <a:close/>
                  <a:moveTo>
                    <a:pt x="402" y="761"/>
                  </a:moveTo>
                  <a:lnTo>
                    <a:pt x="486" y="761"/>
                  </a:lnTo>
                  <a:lnTo>
                    <a:pt x="486" y="814"/>
                  </a:lnTo>
                  <a:lnTo>
                    <a:pt x="402" y="814"/>
                  </a:lnTo>
                  <a:lnTo>
                    <a:pt x="402" y="761"/>
                  </a:lnTo>
                  <a:close/>
                  <a:moveTo>
                    <a:pt x="402" y="846"/>
                  </a:moveTo>
                  <a:lnTo>
                    <a:pt x="486" y="846"/>
                  </a:lnTo>
                  <a:lnTo>
                    <a:pt x="486" y="898"/>
                  </a:lnTo>
                  <a:lnTo>
                    <a:pt x="402" y="898"/>
                  </a:lnTo>
                  <a:lnTo>
                    <a:pt x="402" y="846"/>
                  </a:lnTo>
                  <a:close/>
                  <a:moveTo>
                    <a:pt x="402" y="930"/>
                  </a:moveTo>
                  <a:lnTo>
                    <a:pt x="486" y="930"/>
                  </a:lnTo>
                  <a:lnTo>
                    <a:pt x="486" y="972"/>
                  </a:lnTo>
                  <a:lnTo>
                    <a:pt x="402" y="972"/>
                  </a:lnTo>
                  <a:lnTo>
                    <a:pt x="402" y="930"/>
                  </a:lnTo>
                  <a:close/>
                  <a:moveTo>
                    <a:pt x="402" y="1004"/>
                  </a:moveTo>
                  <a:lnTo>
                    <a:pt x="486" y="1004"/>
                  </a:lnTo>
                  <a:lnTo>
                    <a:pt x="486" y="1057"/>
                  </a:lnTo>
                  <a:lnTo>
                    <a:pt x="402" y="1057"/>
                  </a:lnTo>
                  <a:lnTo>
                    <a:pt x="402" y="1004"/>
                  </a:lnTo>
                  <a:close/>
                  <a:moveTo>
                    <a:pt x="402" y="1089"/>
                  </a:moveTo>
                  <a:lnTo>
                    <a:pt x="486" y="1089"/>
                  </a:lnTo>
                  <a:lnTo>
                    <a:pt x="486" y="1131"/>
                  </a:lnTo>
                  <a:lnTo>
                    <a:pt x="402" y="1131"/>
                  </a:lnTo>
                  <a:lnTo>
                    <a:pt x="402" y="1089"/>
                  </a:lnTo>
                  <a:close/>
                  <a:moveTo>
                    <a:pt x="402" y="1163"/>
                  </a:moveTo>
                  <a:lnTo>
                    <a:pt x="486" y="1163"/>
                  </a:lnTo>
                  <a:lnTo>
                    <a:pt x="486" y="1215"/>
                  </a:lnTo>
                  <a:lnTo>
                    <a:pt x="402" y="1215"/>
                  </a:lnTo>
                  <a:lnTo>
                    <a:pt x="402" y="1163"/>
                  </a:lnTo>
                  <a:close/>
                  <a:moveTo>
                    <a:pt x="402" y="1321"/>
                  </a:moveTo>
                  <a:lnTo>
                    <a:pt x="486" y="1321"/>
                  </a:lnTo>
                  <a:lnTo>
                    <a:pt x="486" y="1374"/>
                  </a:lnTo>
                  <a:lnTo>
                    <a:pt x="402" y="1374"/>
                  </a:lnTo>
                  <a:lnTo>
                    <a:pt x="402" y="1321"/>
                  </a:lnTo>
                  <a:close/>
                  <a:moveTo>
                    <a:pt x="402" y="1480"/>
                  </a:moveTo>
                  <a:lnTo>
                    <a:pt x="486" y="1480"/>
                  </a:lnTo>
                  <a:lnTo>
                    <a:pt x="486" y="1533"/>
                  </a:lnTo>
                  <a:lnTo>
                    <a:pt x="402" y="1533"/>
                  </a:lnTo>
                  <a:lnTo>
                    <a:pt x="402" y="1480"/>
                  </a:lnTo>
                  <a:close/>
                  <a:moveTo>
                    <a:pt x="402" y="1564"/>
                  </a:moveTo>
                  <a:lnTo>
                    <a:pt x="486" y="1564"/>
                  </a:lnTo>
                  <a:lnTo>
                    <a:pt x="486" y="1607"/>
                  </a:lnTo>
                  <a:lnTo>
                    <a:pt x="402" y="1607"/>
                  </a:lnTo>
                  <a:lnTo>
                    <a:pt x="402" y="1564"/>
                  </a:lnTo>
                  <a:close/>
                  <a:moveTo>
                    <a:pt x="402" y="1723"/>
                  </a:moveTo>
                  <a:lnTo>
                    <a:pt x="486" y="1723"/>
                  </a:lnTo>
                  <a:lnTo>
                    <a:pt x="486" y="1776"/>
                  </a:lnTo>
                  <a:lnTo>
                    <a:pt x="402" y="1776"/>
                  </a:lnTo>
                  <a:lnTo>
                    <a:pt x="402" y="1723"/>
                  </a:lnTo>
                  <a:close/>
                  <a:moveTo>
                    <a:pt x="402" y="1797"/>
                  </a:moveTo>
                  <a:lnTo>
                    <a:pt x="486" y="1797"/>
                  </a:lnTo>
                  <a:lnTo>
                    <a:pt x="486" y="1850"/>
                  </a:lnTo>
                  <a:lnTo>
                    <a:pt x="402" y="1850"/>
                  </a:lnTo>
                  <a:lnTo>
                    <a:pt x="402" y="1797"/>
                  </a:lnTo>
                  <a:close/>
                  <a:moveTo>
                    <a:pt x="402" y="1881"/>
                  </a:moveTo>
                  <a:lnTo>
                    <a:pt x="486" y="1881"/>
                  </a:lnTo>
                  <a:lnTo>
                    <a:pt x="486" y="1934"/>
                  </a:lnTo>
                  <a:lnTo>
                    <a:pt x="402" y="1934"/>
                  </a:lnTo>
                  <a:lnTo>
                    <a:pt x="402" y="1881"/>
                  </a:lnTo>
                  <a:close/>
                  <a:moveTo>
                    <a:pt x="402" y="2040"/>
                  </a:moveTo>
                  <a:lnTo>
                    <a:pt x="486" y="2040"/>
                  </a:lnTo>
                  <a:lnTo>
                    <a:pt x="486" y="2093"/>
                  </a:lnTo>
                  <a:lnTo>
                    <a:pt x="402" y="2093"/>
                  </a:lnTo>
                  <a:lnTo>
                    <a:pt x="402" y="2040"/>
                  </a:lnTo>
                  <a:close/>
                  <a:moveTo>
                    <a:pt x="402" y="2124"/>
                  </a:moveTo>
                  <a:lnTo>
                    <a:pt x="486" y="2124"/>
                  </a:lnTo>
                  <a:lnTo>
                    <a:pt x="486" y="2167"/>
                  </a:lnTo>
                  <a:lnTo>
                    <a:pt x="402" y="2167"/>
                  </a:lnTo>
                  <a:lnTo>
                    <a:pt x="402" y="2124"/>
                  </a:lnTo>
                  <a:close/>
                  <a:moveTo>
                    <a:pt x="402" y="2283"/>
                  </a:moveTo>
                  <a:lnTo>
                    <a:pt x="486" y="2283"/>
                  </a:lnTo>
                  <a:lnTo>
                    <a:pt x="486" y="2325"/>
                  </a:lnTo>
                  <a:lnTo>
                    <a:pt x="402" y="2325"/>
                  </a:lnTo>
                  <a:lnTo>
                    <a:pt x="402" y="2283"/>
                  </a:lnTo>
                  <a:close/>
                  <a:moveTo>
                    <a:pt x="402" y="2357"/>
                  </a:moveTo>
                  <a:lnTo>
                    <a:pt x="486" y="2357"/>
                  </a:lnTo>
                  <a:lnTo>
                    <a:pt x="486" y="2410"/>
                  </a:lnTo>
                  <a:lnTo>
                    <a:pt x="402" y="2410"/>
                  </a:lnTo>
                  <a:lnTo>
                    <a:pt x="402" y="2357"/>
                  </a:lnTo>
                  <a:close/>
                  <a:moveTo>
                    <a:pt x="402" y="2441"/>
                  </a:moveTo>
                  <a:lnTo>
                    <a:pt x="486" y="2441"/>
                  </a:lnTo>
                  <a:lnTo>
                    <a:pt x="486" y="2484"/>
                  </a:lnTo>
                  <a:lnTo>
                    <a:pt x="402" y="2484"/>
                  </a:lnTo>
                  <a:lnTo>
                    <a:pt x="402" y="2441"/>
                  </a:lnTo>
                  <a:close/>
                  <a:moveTo>
                    <a:pt x="402" y="2600"/>
                  </a:moveTo>
                  <a:lnTo>
                    <a:pt x="486" y="2600"/>
                  </a:lnTo>
                  <a:lnTo>
                    <a:pt x="486" y="2642"/>
                  </a:lnTo>
                  <a:lnTo>
                    <a:pt x="402" y="2642"/>
                  </a:lnTo>
                  <a:lnTo>
                    <a:pt x="402" y="2600"/>
                  </a:lnTo>
                  <a:close/>
                  <a:moveTo>
                    <a:pt x="402" y="2674"/>
                  </a:moveTo>
                  <a:lnTo>
                    <a:pt x="486" y="2674"/>
                  </a:lnTo>
                  <a:lnTo>
                    <a:pt x="486" y="2727"/>
                  </a:lnTo>
                  <a:lnTo>
                    <a:pt x="402" y="2727"/>
                  </a:lnTo>
                  <a:lnTo>
                    <a:pt x="402" y="2674"/>
                  </a:lnTo>
                  <a:close/>
                  <a:moveTo>
                    <a:pt x="402" y="2759"/>
                  </a:moveTo>
                  <a:lnTo>
                    <a:pt x="486" y="2759"/>
                  </a:lnTo>
                  <a:lnTo>
                    <a:pt x="486" y="2801"/>
                  </a:lnTo>
                  <a:lnTo>
                    <a:pt x="402" y="2801"/>
                  </a:lnTo>
                  <a:lnTo>
                    <a:pt x="402" y="2759"/>
                  </a:lnTo>
                  <a:close/>
                  <a:moveTo>
                    <a:pt x="402" y="2833"/>
                  </a:moveTo>
                  <a:lnTo>
                    <a:pt x="486" y="2833"/>
                  </a:lnTo>
                  <a:lnTo>
                    <a:pt x="486" y="2885"/>
                  </a:lnTo>
                  <a:lnTo>
                    <a:pt x="402" y="2885"/>
                  </a:lnTo>
                  <a:lnTo>
                    <a:pt x="402" y="2833"/>
                  </a:lnTo>
                  <a:close/>
                  <a:moveTo>
                    <a:pt x="402" y="2991"/>
                  </a:moveTo>
                  <a:lnTo>
                    <a:pt x="486" y="2991"/>
                  </a:lnTo>
                  <a:lnTo>
                    <a:pt x="486" y="3044"/>
                  </a:lnTo>
                  <a:lnTo>
                    <a:pt x="402" y="3044"/>
                  </a:lnTo>
                  <a:lnTo>
                    <a:pt x="402" y="2991"/>
                  </a:lnTo>
                  <a:close/>
                  <a:moveTo>
                    <a:pt x="402" y="3076"/>
                  </a:moveTo>
                  <a:lnTo>
                    <a:pt x="486" y="3076"/>
                  </a:lnTo>
                  <a:lnTo>
                    <a:pt x="486" y="3128"/>
                  </a:lnTo>
                  <a:lnTo>
                    <a:pt x="402" y="3128"/>
                  </a:lnTo>
                  <a:lnTo>
                    <a:pt x="402" y="3076"/>
                  </a:lnTo>
                  <a:close/>
                  <a:moveTo>
                    <a:pt x="402" y="3160"/>
                  </a:moveTo>
                  <a:lnTo>
                    <a:pt x="486" y="3160"/>
                  </a:lnTo>
                  <a:lnTo>
                    <a:pt x="486" y="3202"/>
                  </a:lnTo>
                  <a:lnTo>
                    <a:pt x="402" y="3202"/>
                  </a:lnTo>
                  <a:lnTo>
                    <a:pt x="402" y="3160"/>
                  </a:lnTo>
                  <a:close/>
                  <a:moveTo>
                    <a:pt x="307" y="370"/>
                  </a:moveTo>
                  <a:lnTo>
                    <a:pt x="381" y="370"/>
                  </a:lnTo>
                  <a:lnTo>
                    <a:pt x="381" y="412"/>
                  </a:lnTo>
                  <a:lnTo>
                    <a:pt x="307" y="412"/>
                  </a:lnTo>
                  <a:lnTo>
                    <a:pt x="307" y="370"/>
                  </a:lnTo>
                  <a:close/>
                  <a:moveTo>
                    <a:pt x="307" y="444"/>
                  </a:moveTo>
                  <a:lnTo>
                    <a:pt x="381" y="444"/>
                  </a:lnTo>
                  <a:lnTo>
                    <a:pt x="381" y="497"/>
                  </a:lnTo>
                  <a:lnTo>
                    <a:pt x="307" y="497"/>
                  </a:lnTo>
                  <a:lnTo>
                    <a:pt x="307" y="444"/>
                  </a:lnTo>
                  <a:close/>
                  <a:moveTo>
                    <a:pt x="307" y="529"/>
                  </a:moveTo>
                  <a:lnTo>
                    <a:pt x="381" y="529"/>
                  </a:lnTo>
                  <a:lnTo>
                    <a:pt x="381" y="571"/>
                  </a:lnTo>
                  <a:lnTo>
                    <a:pt x="307" y="571"/>
                  </a:lnTo>
                  <a:lnTo>
                    <a:pt x="307" y="529"/>
                  </a:lnTo>
                  <a:close/>
                  <a:moveTo>
                    <a:pt x="307" y="602"/>
                  </a:moveTo>
                  <a:lnTo>
                    <a:pt x="381" y="602"/>
                  </a:lnTo>
                  <a:lnTo>
                    <a:pt x="381" y="655"/>
                  </a:lnTo>
                  <a:lnTo>
                    <a:pt x="307" y="655"/>
                  </a:lnTo>
                  <a:lnTo>
                    <a:pt x="307" y="602"/>
                  </a:lnTo>
                  <a:close/>
                  <a:moveTo>
                    <a:pt x="307" y="761"/>
                  </a:moveTo>
                  <a:lnTo>
                    <a:pt x="381" y="761"/>
                  </a:lnTo>
                  <a:lnTo>
                    <a:pt x="381" y="814"/>
                  </a:lnTo>
                  <a:lnTo>
                    <a:pt x="307" y="814"/>
                  </a:lnTo>
                  <a:lnTo>
                    <a:pt x="307" y="761"/>
                  </a:lnTo>
                  <a:close/>
                  <a:moveTo>
                    <a:pt x="307" y="846"/>
                  </a:moveTo>
                  <a:lnTo>
                    <a:pt x="381" y="846"/>
                  </a:lnTo>
                  <a:lnTo>
                    <a:pt x="381" y="898"/>
                  </a:lnTo>
                  <a:lnTo>
                    <a:pt x="307" y="898"/>
                  </a:lnTo>
                  <a:lnTo>
                    <a:pt x="307" y="846"/>
                  </a:lnTo>
                  <a:close/>
                  <a:moveTo>
                    <a:pt x="307" y="930"/>
                  </a:moveTo>
                  <a:lnTo>
                    <a:pt x="381" y="930"/>
                  </a:lnTo>
                  <a:lnTo>
                    <a:pt x="381" y="972"/>
                  </a:lnTo>
                  <a:lnTo>
                    <a:pt x="307" y="972"/>
                  </a:lnTo>
                  <a:lnTo>
                    <a:pt x="307" y="930"/>
                  </a:lnTo>
                  <a:close/>
                  <a:moveTo>
                    <a:pt x="307" y="1004"/>
                  </a:moveTo>
                  <a:lnTo>
                    <a:pt x="381" y="1004"/>
                  </a:lnTo>
                  <a:lnTo>
                    <a:pt x="381" y="1057"/>
                  </a:lnTo>
                  <a:lnTo>
                    <a:pt x="307" y="1057"/>
                  </a:lnTo>
                  <a:lnTo>
                    <a:pt x="307" y="1004"/>
                  </a:lnTo>
                  <a:close/>
                  <a:moveTo>
                    <a:pt x="307" y="1089"/>
                  </a:moveTo>
                  <a:lnTo>
                    <a:pt x="381" y="1089"/>
                  </a:lnTo>
                  <a:lnTo>
                    <a:pt x="381" y="1131"/>
                  </a:lnTo>
                  <a:lnTo>
                    <a:pt x="307" y="1131"/>
                  </a:lnTo>
                  <a:lnTo>
                    <a:pt x="307" y="1089"/>
                  </a:lnTo>
                  <a:close/>
                  <a:moveTo>
                    <a:pt x="307" y="1163"/>
                  </a:moveTo>
                  <a:lnTo>
                    <a:pt x="381" y="1163"/>
                  </a:lnTo>
                  <a:lnTo>
                    <a:pt x="381" y="1215"/>
                  </a:lnTo>
                  <a:lnTo>
                    <a:pt x="307" y="1215"/>
                  </a:lnTo>
                  <a:lnTo>
                    <a:pt x="307" y="1163"/>
                  </a:lnTo>
                  <a:close/>
                  <a:moveTo>
                    <a:pt x="307" y="1247"/>
                  </a:moveTo>
                  <a:lnTo>
                    <a:pt x="381" y="1247"/>
                  </a:lnTo>
                  <a:lnTo>
                    <a:pt x="381" y="1289"/>
                  </a:lnTo>
                  <a:lnTo>
                    <a:pt x="307" y="1289"/>
                  </a:lnTo>
                  <a:lnTo>
                    <a:pt x="307" y="1247"/>
                  </a:lnTo>
                  <a:close/>
                  <a:moveTo>
                    <a:pt x="307" y="1321"/>
                  </a:moveTo>
                  <a:lnTo>
                    <a:pt x="381" y="1321"/>
                  </a:lnTo>
                  <a:lnTo>
                    <a:pt x="381" y="1374"/>
                  </a:lnTo>
                  <a:lnTo>
                    <a:pt x="307" y="1374"/>
                  </a:lnTo>
                  <a:lnTo>
                    <a:pt x="307" y="1321"/>
                  </a:lnTo>
                  <a:close/>
                  <a:moveTo>
                    <a:pt x="307" y="1406"/>
                  </a:moveTo>
                  <a:lnTo>
                    <a:pt x="381" y="1406"/>
                  </a:lnTo>
                  <a:lnTo>
                    <a:pt x="381" y="1448"/>
                  </a:lnTo>
                  <a:lnTo>
                    <a:pt x="307" y="1448"/>
                  </a:lnTo>
                  <a:lnTo>
                    <a:pt x="307" y="1406"/>
                  </a:lnTo>
                  <a:close/>
                  <a:moveTo>
                    <a:pt x="307" y="1480"/>
                  </a:moveTo>
                  <a:lnTo>
                    <a:pt x="381" y="1480"/>
                  </a:lnTo>
                  <a:lnTo>
                    <a:pt x="381" y="1533"/>
                  </a:lnTo>
                  <a:lnTo>
                    <a:pt x="307" y="1533"/>
                  </a:lnTo>
                  <a:lnTo>
                    <a:pt x="307" y="1480"/>
                  </a:lnTo>
                  <a:close/>
                  <a:moveTo>
                    <a:pt x="307" y="1564"/>
                  </a:moveTo>
                  <a:lnTo>
                    <a:pt x="381" y="1564"/>
                  </a:lnTo>
                  <a:lnTo>
                    <a:pt x="381" y="1607"/>
                  </a:lnTo>
                  <a:lnTo>
                    <a:pt x="307" y="1607"/>
                  </a:lnTo>
                  <a:lnTo>
                    <a:pt x="307" y="1564"/>
                  </a:lnTo>
                  <a:close/>
                  <a:moveTo>
                    <a:pt x="307" y="1638"/>
                  </a:moveTo>
                  <a:lnTo>
                    <a:pt x="381" y="1638"/>
                  </a:lnTo>
                  <a:lnTo>
                    <a:pt x="381" y="1691"/>
                  </a:lnTo>
                  <a:lnTo>
                    <a:pt x="307" y="1691"/>
                  </a:lnTo>
                  <a:lnTo>
                    <a:pt x="307" y="1638"/>
                  </a:lnTo>
                  <a:close/>
                  <a:moveTo>
                    <a:pt x="307" y="1723"/>
                  </a:moveTo>
                  <a:lnTo>
                    <a:pt x="381" y="1723"/>
                  </a:lnTo>
                  <a:lnTo>
                    <a:pt x="381" y="1776"/>
                  </a:lnTo>
                  <a:lnTo>
                    <a:pt x="307" y="1776"/>
                  </a:lnTo>
                  <a:lnTo>
                    <a:pt x="307" y="1723"/>
                  </a:lnTo>
                  <a:close/>
                  <a:moveTo>
                    <a:pt x="307" y="1797"/>
                  </a:moveTo>
                  <a:lnTo>
                    <a:pt x="381" y="1797"/>
                  </a:lnTo>
                  <a:lnTo>
                    <a:pt x="381" y="1850"/>
                  </a:lnTo>
                  <a:lnTo>
                    <a:pt x="307" y="1850"/>
                  </a:lnTo>
                  <a:lnTo>
                    <a:pt x="307" y="1797"/>
                  </a:lnTo>
                  <a:close/>
                  <a:moveTo>
                    <a:pt x="307" y="1881"/>
                  </a:moveTo>
                  <a:lnTo>
                    <a:pt x="381" y="1881"/>
                  </a:lnTo>
                  <a:lnTo>
                    <a:pt x="381" y="1934"/>
                  </a:lnTo>
                  <a:lnTo>
                    <a:pt x="307" y="1934"/>
                  </a:lnTo>
                  <a:lnTo>
                    <a:pt x="307" y="1881"/>
                  </a:lnTo>
                  <a:close/>
                  <a:moveTo>
                    <a:pt x="307" y="1966"/>
                  </a:moveTo>
                  <a:lnTo>
                    <a:pt x="381" y="1966"/>
                  </a:lnTo>
                  <a:lnTo>
                    <a:pt x="381" y="2008"/>
                  </a:lnTo>
                  <a:lnTo>
                    <a:pt x="307" y="2008"/>
                  </a:lnTo>
                  <a:lnTo>
                    <a:pt x="307" y="1966"/>
                  </a:lnTo>
                  <a:close/>
                  <a:moveTo>
                    <a:pt x="307" y="2040"/>
                  </a:moveTo>
                  <a:lnTo>
                    <a:pt x="381" y="2040"/>
                  </a:lnTo>
                  <a:lnTo>
                    <a:pt x="381" y="2093"/>
                  </a:lnTo>
                  <a:lnTo>
                    <a:pt x="307" y="2093"/>
                  </a:lnTo>
                  <a:lnTo>
                    <a:pt x="307" y="2040"/>
                  </a:lnTo>
                  <a:close/>
                  <a:moveTo>
                    <a:pt x="307" y="2124"/>
                  </a:moveTo>
                  <a:lnTo>
                    <a:pt x="381" y="2124"/>
                  </a:lnTo>
                  <a:lnTo>
                    <a:pt x="381" y="2167"/>
                  </a:lnTo>
                  <a:lnTo>
                    <a:pt x="307" y="2167"/>
                  </a:lnTo>
                  <a:lnTo>
                    <a:pt x="307" y="2124"/>
                  </a:lnTo>
                  <a:close/>
                  <a:moveTo>
                    <a:pt x="307" y="2198"/>
                  </a:moveTo>
                  <a:lnTo>
                    <a:pt x="381" y="2198"/>
                  </a:lnTo>
                  <a:lnTo>
                    <a:pt x="381" y="2251"/>
                  </a:lnTo>
                  <a:lnTo>
                    <a:pt x="307" y="2251"/>
                  </a:lnTo>
                  <a:lnTo>
                    <a:pt x="307" y="2198"/>
                  </a:lnTo>
                  <a:close/>
                  <a:moveTo>
                    <a:pt x="307" y="2283"/>
                  </a:moveTo>
                  <a:lnTo>
                    <a:pt x="381" y="2283"/>
                  </a:lnTo>
                  <a:lnTo>
                    <a:pt x="381" y="2325"/>
                  </a:lnTo>
                  <a:lnTo>
                    <a:pt x="307" y="2325"/>
                  </a:lnTo>
                  <a:lnTo>
                    <a:pt x="307" y="2283"/>
                  </a:lnTo>
                  <a:close/>
                  <a:moveTo>
                    <a:pt x="307" y="2357"/>
                  </a:moveTo>
                  <a:lnTo>
                    <a:pt x="381" y="2357"/>
                  </a:lnTo>
                  <a:lnTo>
                    <a:pt x="381" y="2410"/>
                  </a:lnTo>
                  <a:lnTo>
                    <a:pt x="307" y="2410"/>
                  </a:lnTo>
                  <a:lnTo>
                    <a:pt x="307" y="2357"/>
                  </a:lnTo>
                  <a:close/>
                  <a:moveTo>
                    <a:pt x="307" y="2441"/>
                  </a:moveTo>
                  <a:lnTo>
                    <a:pt x="381" y="2441"/>
                  </a:lnTo>
                  <a:lnTo>
                    <a:pt x="381" y="2484"/>
                  </a:lnTo>
                  <a:lnTo>
                    <a:pt x="307" y="2484"/>
                  </a:lnTo>
                  <a:lnTo>
                    <a:pt x="307" y="2441"/>
                  </a:lnTo>
                  <a:close/>
                  <a:moveTo>
                    <a:pt x="307" y="2515"/>
                  </a:moveTo>
                  <a:lnTo>
                    <a:pt x="381" y="2515"/>
                  </a:lnTo>
                  <a:lnTo>
                    <a:pt x="381" y="2568"/>
                  </a:lnTo>
                  <a:lnTo>
                    <a:pt x="307" y="2568"/>
                  </a:lnTo>
                  <a:lnTo>
                    <a:pt x="307" y="2515"/>
                  </a:lnTo>
                  <a:close/>
                  <a:moveTo>
                    <a:pt x="307" y="2600"/>
                  </a:moveTo>
                  <a:lnTo>
                    <a:pt x="381" y="2600"/>
                  </a:lnTo>
                  <a:lnTo>
                    <a:pt x="381" y="2642"/>
                  </a:lnTo>
                  <a:lnTo>
                    <a:pt x="307" y="2642"/>
                  </a:lnTo>
                  <a:lnTo>
                    <a:pt x="307" y="2600"/>
                  </a:lnTo>
                  <a:close/>
                  <a:moveTo>
                    <a:pt x="307" y="2674"/>
                  </a:moveTo>
                  <a:lnTo>
                    <a:pt x="381" y="2674"/>
                  </a:lnTo>
                  <a:lnTo>
                    <a:pt x="381" y="2727"/>
                  </a:lnTo>
                  <a:lnTo>
                    <a:pt x="307" y="2727"/>
                  </a:lnTo>
                  <a:lnTo>
                    <a:pt x="307" y="2674"/>
                  </a:lnTo>
                  <a:close/>
                  <a:moveTo>
                    <a:pt x="307" y="2759"/>
                  </a:moveTo>
                  <a:lnTo>
                    <a:pt x="381" y="2759"/>
                  </a:lnTo>
                  <a:lnTo>
                    <a:pt x="381" y="2801"/>
                  </a:lnTo>
                  <a:lnTo>
                    <a:pt x="307" y="2801"/>
                  </a:lnTo>
                  <a:lnTo>
                    <a:pt x="307" y="2759"/>
                  </a:lnTo>
                  <a:close/>
                  <a:moveTo>
                    <a:pt x="307" y="2833"/>
                  </a:moveTo>
                  <a:lnTo>
                    <a:pt x="381" y="2833"/>
                  </a:lnTo>
                  <a:lnTo>
                    <a:pt x="381" y="2885"/>
                  </a:lnTo>
                  <a:lnTo>
                    <a:pt x="307" y="2885"/>
                  </a:lnTo>
                  <a:lnTo>
                    <a:pt x="307" y="2833"/>
                  </a:lnTo>
                  <a:close/>
                  <a:moveTo>
                    <a:pt x="307" y="2917"/>
                  </a:moveTo>
                  <a:lnTo>
                    <a:pt x="381" y="2917"/>
                  </a:lnTo>
                  <a:lnTo>
                    <a:pt x="381" y="2970"/>
                  </a:lnTo>
                  <a:lnTo>
                    <a:pt x="307" y="2970"/>
                  </a:lnTo>
                  <a:lnTo>
                    <a:pt x="307" y="2917"/>
                  </a:lnTo>
                  <a:close/>
                  <a:moveTo>
                    <a:pt x="307" y="2991"/>
                  </a:moveTo>
                  <a:lnTo>
                    <a:pt x="381" y="2991"/>
                  </a:lnTo>
                  <a:lnTo>
                    <a:pt x="381" y="3044"/>
                  </a:lnTo>
                  <a:lnTo>
                    <a:pt x="307" y="3044"/>
                  </a:lnTo>
                  <a:lnTo>
                    <a:pt x="307" y="2991"/>
                  </a:lnTo>
                  <a:close/>
                  <a:moveTo>
                    <a:pt x="307" y="3076"/>
                  </a:moveTo>
                  <a:lnTo>
                    <a:pt x="381" y="3076"/>
                  </a:lnTo>
                  <a:lnTo>
                    <a:pt x="381" y="3128"/>
                  </a:lnTo>
                  <a:lnTo>
                    <a:pt x="307" y="3128"/>
                  </a:lnTo>
                  <a:lnTo>
                    <a:pt x="307" y="3076"/>
                  </a:lnTo>
                  <a:close/>
                  <a:moveTo>
                    <a:pt x="307" y="3160"/>
                  </a:moveTo>
                  <a:lnTo>
                    <a:pt x="381" y="3160"/>
                  </a:lnTo>
                  <a:lnTo>
                    <a:pt x="381" y="3202"/>
                  </a:lnTo>
                  <a:lnTo>
                    <a:pt x="307" y="3202"/>
                  </a:lnTo>
                  <a:lnTo>
                    <a:pt x="307" y="3160"/>
                  </a:lnTo>
                  <a:close/>
                  <a:moveTo>
                    <a:pt x="211" y="370"/>
                  </a:moveTo>
                  <a:lnTo>
                    <a:pt x="285" y="370"/>
                  </a:lnTo>
                  <a:lnTo>
                    <a:pt x="285" y="412"/>
                  </a:lnTo>
                  <a:lnTo>
                    <a:pt x="211" y="412"/>
                  </a:lnTo>
                  <a:lnTo>
                    <a:pt x="211" y="370"/>
                  </a:lnTo>
                  <a:close/>
                  <a:moveTo>
                    <a:pt x="211" y="444"/>
                  </a:moveTo>
                  <a:lnTo>
                    <a:pt x="285" y="444"/>
                  </a:lnTo>
                  <a:lnTo>
                    <a:pt x="285" y="497"/>
                  </a:lnTo>
                  <a:lnTo>
                    <a:pt x="211" y="497"/>
                  </a:lnTo>
                  <a:lnTo>
                    <a:pt x="211" y="444"/>
                  </a:lnTo>
                  <a:close/>
                  <a:moveTo>
                    <a:pt x="211" y="529"/>
                  </a:moveTo>
                  <a:lnTo>
                    <a:pt x="285" y="529"/>
                  </a:lnTo>
                  <a:lnTo>
                    <a:pt x="285" y="571"/>
                  </a:lnTo>
                  <a:lnTo>
                    <a:pt x="211" y="571"/>
                  </a:lnTo>
                  <a:lnTo>
                    <a:pt x="211" y="529"/>
                  </a:lnTo>
                  <a:close/>
                  <a:moveTo>
                    <a:pt x="211" y="602"/>
                  </a:moveTo>
                  <a:lnTo>
                    <a:pt x="285" y="602"/>
                  </a:lnTo>
                  <a:lnTo>
                    <a:pt x="285" y="655"/>
                  </a:lnTo>
                  <a:lnTo>
                    <a:pt x="211" y="655"/>
                  </a:lnTo>
                  <a:lnTo>
                    <a:pt x="211" y="602"/>
                  </a:lnTo>
                  <a:close/>
                  <a:moveTo>
                    <a:pt x="211" y="687"/>
                  </a:moveTo>
                  <a:lnTo>
                    <a:pt x="285" y="687"/>
                  </a:lnTo>
                  <a:lnTo>
                    <a:pt x="285" y="740"/>
                  </a:lnTo>
                  <a:lnTo>
                    <a:pt x="211" y="740"/>
                  </a:lnTo>
                  <a:lnTo>
                    <a:pt x="211" y="687"/>
                  </a:lnTo>
                  <a:close/>
                  <a:moveTo>
                    <a:pt x="211" y="761"/>
                  </a:moveTo>
                  <a:lnTo>
                    <a:pt x="285" y="761"/>
                  </a:lnTo>
                  <a:lnTo>
                    <a:pt x="285" y="814"/>
                  </a:lnTo>
                  <a:lnTo>
                    <a:pt x="211" y="814"/>
                  </a:lnTo>
                  <a:lnTo>
                    <a:pt x="211" y="761"/>
                  </a:lnTo>
                  <a:close/>
                  <a:moveTo>
                    <a:pt x="211" y="930"/>
                  </a:moveTo>
                  <a:lnTo>
                    <a:pt x="285" y="930"/>
                  </a:lnTo>
                  <a:lnTo>
                    <a:pt x="285" y="972"/>
                  </a:lnTo>
                  <a:lnTo>
                    <a:pt x="211" y="972"/>
                  </a:lnTo>
                  <a:lnTo>
                    <a:pt x="211" y="930"/>
                  </a:lnTo>
                  <a:close/>
                  <a:moveTo>
                    <a:pt x="211" y="1004"/>
                  </a:moveTo>
                  <a:lnTo>
                    <a:pt x="285" y="1004"/>
                  </a:lnTo>
                  <a:lnTo>
                    <a:pt x="285" y="1057"/>
                  </a:lnTo>
                  <a:lnTo>
                    <a:pt x="211" y="1057"/>
                  </a:lnTo>
                  <a:lnTo>
                    <a:pt x="211" y="1004"/>
                  </a:lnTo>
                  <a:close/>
                  <a:moveTo>
                    <a:pt x="211" y="1089"/>
                  </a:moveTo>
                  <a:lnTo>
                    <a:pt x="285" y="1089"/>
                  </a:lnTo>
                  <a:lnTo>
                    <a:pt x="285" y="1131"/>
                  </a:lnTo>
                  <a:lnTo>
                    <a:pt x="211" y="1131"/>
                  </a:lnTo>
                  <a:lnTo>
                    <a:pt x="211" y="1089"/>
                  </a:lnTo>
                  <a:close/>
                  <a:moveTo>
                    <a:pt x="211" y="1163"/>
                  </a:moveTo>
                  <a:lnTo>
                    <a:pt x="285" y="1163"/>
                  </a:lnTo>
                  <a:lnTo>
                    <a:pt x="285" y="1215"/>
                  </a:lnTo>
                  <a:lnTo>
                    <a:pt x="211" y="1215"/>
                  </a:lnTo>
                  <a:lnTo>
                    <a:pt x="211" y="1163"/>
                  </a:lnTo>
                  <a:close/>
                  <a:moveTo>
                    <a:pt x="211" y="1247"/>
                  </a:moveTo>
                  <a:lnTo>
                    <a:pt x="285" y="1247"/>
                  </a:lnTo>
                  <a:lnTo>
                    <a:pt x="285" y="1289"/>
                  </a:lnTo>
                  <a:lnTo>
                    <a:pt x="211" y="1289"/>
                  </a:lnTo>
                  <a:lnTo>
                    <a:pt x="211" y="1247"/>
                  </a:lnTo>
                  <a:close/>
                  <a:moveTo>
                    <a:pt x="211" y="1321"/>
                  </a:moveTo>
                  <a:lnTo>
                    <a:pt x="285" y="1321"/>
                  </a:lnTo>
                  <a:lnTo>
                    <a:pt x="285" y="1374"/>
                  </a:lnTo>
                  <a:lnTo>
                    <a:pt x="211" y="1374"/>
                  </a:lnTo>
                  <a:lnTo>
                    <a:pt x="211" y="1321"/>
                  </a:lnTo>
                  <a:close/>
                  <a:moveTo>
                    <a:pt x="211" y="1406"/>
                  </a:moveTo>
                  <a:lnTo>
                    <a:pt x="285" y="1406"/>
                  </a:lnTo>
                  <a:lnTo>
                    <a:pt x="285" y="1448"/>
                  </a:lnTo>
                  <a:lnTo>
                    <a:pt x="211" y="1448"/>
                  </a:lnTo>
                  <a:lnTo>
                    <a:pt x="211" y="1406"/>
                  </a:lnTo>
                  <a:close/>
                  <a:moveTo>
                    <a:pt x="211" y="1480"/>
                  </a:moveTo>
                  <a:lnTo>
                    <a:pt x="285" y="1480"/>
                  </a:lnTo>
                  <a:lnTo>
                    <a:pt x="285" y="1533"/>
                  </a:lnTo>
                  <a:lnTo>
                    <a:pt x="211" y="1533"/>
                  </a:lnTo>
                  <a:lnTo>
                    <a:pt x="211" y="1480"/>
                  </a:lnTo>
                  <a:close/>
                  <a:moveTo>
                    <a:pt x="211" y="1564"/>
                  </a:moveTo>
                  <a:lnTo>
                    <a:pt x="285" y="1564"/>
                  </a:lnTo>
                  <a:lnTo>
                    <a:pt x="285" y="1607"/>
                  </a:lnTo>
                  <a:lnTo>
                    <a:pt x="211" y="1607"/>
                  </a:lnTo>
                  <a:lnTo>
                    <a:pt x="211" y="1564"/>
                  </a:lnTo>
                  <a:close/>
                  <a:moveTo>
                    <a:pt x="211" y="1638"/>
                  </a:moveTo>
                  <a:lnTo>
                    <a:pt x="285" y="1638"/>
                  </a:lnTo>
                  <a:lnTo>
                    <a:pt x="285" y="1691"/>
                  </a:lnTo>
                  <a:lnTo>
                    <a:pt x="211" y="1691"/>
                  </a:lnTo>
                  <a:lnTo>
                    <a:pt x="211" y="1638"/>
                  </a:lnTo>
                  <a:close/>
                  <a:moveTo>
                    <a:pt x="211" y="1723"/>
                  </a:moveTo>
                  <a:lnTo>
                    <a:pt x="285" y="1723"/>
                  </a:lnTo>
                  <a:lnTo>
                    <a:pt x="285" y="1776"/>
                  </a:lnTo>
                  <a:lnTo>
                    <a:pt x="211" y="1776"/>
                  </a:lnTo>
                  <a:lnTo>
                    <a:pt x="211" y="1723"/>
                  </a:lnTo>
                  <a:close/>
                  <a:moveTo>
                    <a:pt x="211" y="1797"/>
                  </a:moveTo>
                  <a:lnTo>
                    <a:pt x="285" y="1797"/>
                  </a:lnTo>
                  <a:lnTo>
                    <a:pt x="285" y="1850"/>
                  </a:lnTo>
                  <a:lnTo>
                    <a:pt x="211" y="1850"/>
                  </a:lnTo>
                  <a:lnTo>
                    <a:pt x="211" y="1797"/>
                  </a:lnTo>
                  <a:close/>
                  <a:moveTo>
                    <a:pt x="211" y="1881"/>
                  </a:moveTo>
                  <a:lnTo>
                    <a:pt x="285" y="1881"/>
                  </a:lnTo>
                  <a:lnTo>
                    <a:pt x="285" y="1934"/>
                  </a:lnTo>
                  <a:lnTo>
                    <a:pt x="211" y="1934"/>
                  </a:lnTo>
                  <a:lnTo>
                    <a:pt x="211" y="1881"/>
                  </a:lnTo>
                  <a:close/>
                  <a:moveTo>
                    <a:pt x="211" y="1966"/>
                  </a:moveTo>
                  <a:lnTo>
                    <a:pt x="285" y="1966"/>
                  </a:lnTo>
                  <a:lnTo>
                    <a:pt x="285" y="2008"/>
                  </a:lnTo>
                  <a:lnTo>
                    <a:pt x="211" y="2008"/>
                  </a:lnTo>
                  <a:lnTo>
                    <a:pt x="211" y="1966"/>
                  </a:lnTo>
                  <a:close/>
                  <a:moveTo>
                    <a:pt x="211" y="2040"/>
                  </a:moveTo>
                  <a:lnTo>
                    <a:pt x="285" y="2040"/>
                  </a:lnTo>
                  <a:lnTo>
                    <a:pt x="285" y="2093"/>
                  </a:lnTo>
                  <a:lnTo>
                    <a:pt x="211" y="2093"/>
                  </a:lnTo>
                  <a:lnTo>
                    <a:pt x="211" y="2040"/>
                  </a:lnTo>
                  <a:close/>
                  <a:moveTo>
                    <a:pt x="211" y="2198"/>
                  </a:moveTo>
                  <a:lnTo>
                    <a:pt x="285" y="2198"/>
                  </a:lnTo>
                  <a:lnTo>
                    <a:pt x="285" y="2251"/>
                  </a:lnTo>
                  <a:lnTo>
                    <a:pt x="211" y="2251"/>
                  </a:lnTo>
                  <a:lnTo>
                    <a:pt x="211" y="2198"/>
                  </a:lnTo>
                  <a:close/>
                  <a:moveTo>
                    <a:pt x="211" y="2283"/>
                  </a:moveTo>
                  <a:lnTo>
                    <a:pt x="285" y="2283"/>
                  </a:lnTo>
                  <a:lnTo>
                    <a:pt x="285" y="2325"/>
                  </a:lnTo>
                  <a:lnTo>
                    <a:pt x="211" y="2325"/>
                  </a:lnTo>
                  <a:lnTo>
                    <a:pt x="211" y="2283"/>
                  </a:lnTo>
                  <a:close/>
                  <a:moveTo>
                    <a:pt x="211" y="2357"/>
                  </a:moveTo>
                  <a:lnTo>
                    <a:pt x="285" y="2357"/>
                  </a:lnTo>
                  <a:lnTo>
                    <a:pt x="285" y="2410"/>
                  </a:lnTo>
                  <a:lnTo>
                    <a:pt x="211" y="2410"/>
                  </a:lnTo>
                  <a:lnTo>
                    <a:pt x="211" y="2357"/>
                  </a:lnTo>
                  <a:close/>
                  <a:moveTo>
                    <a:pt x="211" y="2515"/>
                  </a:moveTo>
                  <a:lnTo>
                    <a:pt x="285" y="2515"/>
                  </a:lnTo>
                  <a:lnTo>
                    <a:pt x="285" y="2568"/>
                  </a:lnTo>
                  <a:lnTo>
                    <a:pt x="211" y="2568"/>
                  </a:lnTo>
                  <a:lnTo>
                    <a:pt x="211" y="2515"/>
                  </a:lnTo>
                  <a:close/>
                  <a:moveTo>
                    <a:pt x="211" y="2600"/>
                  </a:moveTo>
                  <a:lnTo>
                    <a:pt x="285" y="2600"/>
                  </a:lnTo>
                  <a:lnTo>
                    <a:pt x="285" y="2642"/>
                  </a:lnTo>
                  <a:lnTo>
                    <a:pt x="211" y="2642"/>
                  </a:lnTo>
                  <a:lnTo>
                    <a:pt x="211" y="2600"/>
                  </a:lnTo>
                  <a:close/>
                  <a:moveTo>
                    <a:pt x="211" y="2674"/>
                  </a:moveTo>
                  <a:lnTo>
                    <a:pt x="285" y="2674"/>
                  </a:lnTo>
                  <a:lnTo>
                    <a:pt x="285" y="2727"/>
                  </a:lnTo>
                  <a:lnTo>
                    <a:pt x="211" y="2727"/>
                  </a:lnTo>
                  <a:lnTo>
                    <a:pt x="211" y="2674"/>
                  </a:lnTo>
                  <a:close/>
                  <a:moveTo>
                    <a:pt x="211" y="2759"/>
                  </a:moveTo>
                  <a:lnTo>
                    <a:pt x="285" y="2759"/>
                  </a:lnTo>
                  <a:lnTo>
                    <a:pt x="285" y="2801"/>
                  </a:lnTo>
                  <a:lnTo>
                    <a:pt x="211" y="2801"/>
                  </a:lnTo>
                  <a:lnTo>
                    <a:pt x="211" y="2759"/>
                  </a:lnTo>
                  <a:close/>
                  <a:moveTo>
                    <a:pt x="211" y="2833"/>
                  </a:moveTo>
                  <a:lnTo>
                    <a:pt x="285" y="2833"/>
                  </a:lnTo>
                  <a:lnTo>
                    <a:pt x="285" y="2885"/>
                  </a:lnTo>
                  <a:lnTo>
                    <a:pt x="211" y="2885"/>
                  </a:lnTo>
                  <a:lnTo>
                    <a:pt x="211" y="2833"/>
                  </a:lnTo>
                  <a:close/>
                  <a:moveTo>
                    <a:pt x="211" y="2991"/>
                  </a:moveTo>
                  <a:lnTo>
                    <a:pt x="285" y="2991"/>
                  </a:lnTo>
                  <a:lnTo>
                    <a:pt x="285" y="3044"/>
                  </a:lnTo>
                  <a:lnTo>
                    <a:pt x="211" y="3044"/>
                  </a:lnTo>
                  <a:lnTo>
                    <a:pt x="211" y="2991"/>
                  </a:lnTo>
                  <a:close/>
                  <a:moveTo>
                    <a:pt x="211" y="3076"/>
                  </a:moveTo>
                  <a:lnTo>
                    <a:pt x="285" y="3076"/>
                  </a:lnTo>
                  <a:lnTo>
                    <a:pt x="285" y="3128"/>
                  </a:lnTo>
                  <a:lnTo>
                    <a:pt x="211" y="3128"/>
                  </a:lnTo>
                  <a:lnTo>
                    <a:pt x="211" y="3076"/>
                  </a:lnTo>
                  <a:close/>
                  <a:moveTo>
                    <a:pt x="211" y="3160"/>
                  </a:moveTo>
                  <a:lnTo>
                    <a:pt x="285" y="3160"/>
                  </a:lnTo>
                  <a:lnTo>
                    <a:pt x="285" y="3202"/>
                  </a:lnTo>
                  <a:lnTo>
                    <a:pt x="211" y="3202"/>
                  </a:lnTo>
                  <a:lnTo>
                    <a:pt x="211" y="3160"/>
                  </a:lnTo>
                  <a:close/>
                  <a:moveTo>
                    <a:pt x="190" y="3403"/>
                  </a:moveTo>
                  <a:lnTo>
                    <a:pt x="254" y="3403"/>
                  </a:lnTo>
                  <a:lnTo>
                    <a:pt x="254" y="3667"/>
                  </a:lnTo>
                  <a:lnTo>
                    <a:pt x="190" y="3667"/>
                  </a:lnTo>
                  <a:lnTo>
                    <a:pt x="190" y="3403"/>
                  </a:lnTo>
                  <a:close/>
                  <a:moveTo>
                    <a:pt x="190" y="3731"/>
                  </a:moveTo>
                  <a:lnTo>
                    <a:pt x="254" y="3731"/>
                  </a:lnTo>
                  <a:lnTo>
                    <a:pt x="254" y="3995"/>
                  </a:lnTo>
                  <a:lnTo>
                    <a:pt x="190" y="3995"/>
                  </a:lnTo>
                  <a:lnTo>
                    <a:pt x="190" y="3731"/>
                  </a:lnTo>
                  <a:close/>
                  <a:moveTo>
                    <a:pt x="190" y="4037"/>
                  </a:moveTo>
                  <a:lnTo>
                    <a:pt x="254" y="4037"/>
                  </a:lnTo>
                  <a:lnTo>
                    <a:pt x="254" y="4302"/>
                  </a:lnTo>
                  <a:lnTo>
                    <a:pt x="190" y="4302"/>
                  </a:lnTo>
                  <a:lnTo>
                    <a:pt x="190" y="4037"/>
                  </a:lnTo>
                  <a:close/>
                  <a:moveTo>
                    <a:pt x="116" y="444"/>
                  </a:moveTo>
                  <a:lnTo>
                    <a:pt x="190" y="444"/>
                  </a:lnTo>
                  <a:lnTo>
                    <a:pt x="190" y="497"/>
                  </a:lnTo>
                  <a:lnTo>
                    <a:pt x="116" y="497"/>
                  </a:lnTo>
                  <a:lnTo>
                    <a:pt x="116" y="444"/>
                  </a:lnTo>
                  <a:close/>
                  <a:moveTo>
                    <a:pt x="116" y="529"/>
                  </a:moveTo>
                  <a:lnTo>
                    <a:pt x="190" y="529"/>
                  </a:lnTo>
                  <a:lnTo>
                    <a:pt x="190" y="571"/>
                  </a:lnTo>
                  <a:lnTo>
                    <a:pt x="116" y="571"/>
                  </a:lnTo>
                  <a:lnTo>
                    <a:pt x="116" y="529"/>
                  </a:lnTo>
                  <a:close/>
                  <a:moveTo>
                    <a:pt x="116" y="602"/>
                  </a:moveTo>
                  <a:lnTo>
                    <a:pt x="190" y="602"/>
                  </a:lnTo>
                  <a:lnTo>
                    <a:pt x="190" y="655"/>
                  </a:lnTo>
                  <a:lnTo>
                    <a:pt x="116" y="655"/>
                  </a:lnTo>
                  <a:lnTo>
                    <a:pt x="116" y="602"/>
                  </a:lnTo>
                  <a:close/>
                  <a:moveTo>
                    <a:pt x="116" y="687"/>
                  </a:moveTo>
                  <a:lnTo>
                    <a:pt x="190" y="687"/>
                  </a:lnTo>
                  <a:lnTo>
                    <a:pt x="190" y="740"/>
                  </a:lnTo>
                  <a:lnTo>
                    <a:pt x="116" y="740"/>
                  </a:lnTo>
                  <a:lnTo>
                    <a:pt x="116" y="687"/>
                  </a:lnTo>
                  <a:close/>
                  <a:moveTo>
                    <a:pt x="116" y="761"/>
                  </a:moveTo>
                  <a:lnTo>
                    <a:pt x="190" y="761"/>
                  </a:lnTo>
                  <a:lnTo>
                    <a:pt x="190" y="814"/>
                  </a:lnTo>
                  <a:lnTo>
                    <a:pt x="116" y="814"/>
                  </a:lnTo>
                  <a:lnTo>
                    <a:pt x="116" y="761"/>
                  </a:lnTo>
                  <a:close/>
                  <a:moveTo>
                    <a:pt x="116" y="846"/>
                  </a:moveTo>
                  <a:lnTo>
                    <a:pt x="190" y="846"/>
                  </a:lnTo>
                  <a:lnTo>
                    <a:pt x="190" y="898"/>
                  </a:lnTo>
                  <a:lnTo>
                    <a:pt x="116" y="898"/>
                  </a:lnTo>
                  <a:lnTo>
                    <a:pt x="116" y="846"/>
                  </a:lnTo>
                  <a:close/>
                  <a:moveTo>
                    <a:pt x="116" y="930"/>
                  </a:moveTo>
                  <a:lnTo>
                    <a:pt x="190" y="930"/>
                  </a:lnTo>
                  <a:lnTo>
                    <a:pt x="190" y="972"/>
                  </a:lnTo>
                  <a:lnTo>
                    <a:pt x="116" y="972"/>
                  </a:lnTo>
                  <a:lnTo>
                    <a:pt x="116" y="930"/>
                  </a:lnTo>
                  <a:close/>
                  <a:moveTo>
                    <a:pt x="116" y="1089"/>
                  </a:moveTo>
                  <a:lnTo>
                    <a:pt x="190" y="1089"/>
                  </a:lnTo>
                  <a:lnTo>
                    <a:pt x="190" y="1131"/>
                  </a:lnTo>
                  <a:lnTo>
                    <a:pt x="116" y="1131"/>
                  </a:lnTo>
                  <a:lnTo>
                    <a:pt x="116" y="1089"/>
                  </a:lnTo>
                  <a:close/>
                  <a:moveTo>
                    <a:pt x="116" y="1163"/>
                  </a:moveTo>
                  <a:lnTo>
                    <a:pt x="190" y="1163"/>
                  </a:lnTo>
                  <a:lnTo>
                    <a:pt x="190" y="1215"/>
                  </a:lnTo>
                  <a:lnTo>
                    <a:pt x="116" y="1215"/>
                  </a:lnTo>
                  <a:lnTo>
                    <a:pt x="116" y="1163"/>
                  </a:lnTo>
                  <a:close/>
                  <a:moveTo>
                    <a:pt x="116" y="1247"/>
                  </a:moveTo>
                  <a:lnTo>
                    <a:pt x="190" y="1247"/>
                  </a:lnTo>
                  <a:lnTo>
                    <a:pt x="190" y="1289"/>
                  </a:lnTo>
                  <a:lnTo>
                    <a:pt x="116" y="1289"/>
                  </a:lnTo>
                  <a:lnTo>
                    <a:pt x="116" y="1247"/>
                  </a:lnTo>
                  <a:close/>
                  <a:moveTo>
                    <a:pt x="116" y="1321"/>
                  </a:moveTo>
                  <a:lnTo>
                    <a:pt x="190" y="1321"/>
                  </a:lnTo>
                  <a:lnTo>
                    <a:pt x="190" y="1374"/>
                  </a:lnTo>
                  <a:lnTo>
                    <a:pt x="116" y="1374"/>
                  </a:lnTo>
                  <a:lnTo>
                    <a:pt x="116" y="1321"/>
                  </a:lnTo>
                  <a:close/>
                  <a:moveTo>
                    <a:pt x="116" y="1406"/>
                  </a:moveTo>
                  <a:lnTo>
                    <a:pt x="190" y="1406"/>
                  </a:lnTo>
                  <a:lnTo>
                    <a:pt x="190" y="1448"/>
                  </a:lnTo>
                  <a:lnTo>
                    <a:pt x="116" y="1448"/>
                  </a:lnTo>
                  <a:lnTo>
                    <a:pt x="116" y="1406"/>
                  </a:lnTo>
                  <a:close/>
                  <a:moveTo>
                    <a:pt x="116" y="1480"/>
                  </a:moveTo>
                  <a:lnTo>
                    <a:pt x="190" y="1480"/>
                  </a:lnTo>
                  <a:lnTo>
                    <a:pt x="190" y="1533"/>
                  </a:lnTo>
                  <a:lnTo>
                    <a:pt x="116" y="1533"/>
                  </a:lnTo>
                  <a:lnTo>
                    <a:pt x="116" y="1480"/>
                  </a:lnTo>
                  <a:close/>
                  <a:moveTo>
                    <a:pt x="116" y="1564"/>
                  </a:moveTo>
                  <a:lnTo>
                    <a:pt x="190" y="1564"/>
                  </a:lnTo>
                  <a:lnTo>
                    <a:pt x="190" y="1607"/>
                  </a:lnTo>
                  <a:lnTo>
                    <a:pt x="116" y="1607"/>
                  </a:lnTo>
                  <a:lnTo>
                    <a:pt x="116" y="1564"/>
                  </a:lnTo>
                  <a:close/>
                  <a:moveTo>
                    <a:pt x="116" y="1723"/>
                  </a:moveTo>
                  <a:lnTo>
                    <a:pt x="190" y="1723"/>
                  </a:lnTo>
                  <a:lnTo>
                    <a:pt x="190" y="1776"/>
                  </a:lnTo>
                  <a:lnTo>
                    <a:pt x="116" y="1776"/>
                  </a:lnTo>
                  <a:lnTo>
                    <a:pt x="116" y="1723"/>
                  </a:lnTo>
                  <a:close/>
                  <a:moveTo>
                    <a:pt x="116" y="1797"/>
                  </a:moveTo>
                  <a:lnTo>
                    <a:pt x="190" y="1797"/>
                  </a:lnTo>
                  <a:lnTo>
                    <a:pt x="190" y="1850"/>
                  </a:lnTo>
                  <a:lnTo>
                    <a:pt x="116" y="1850"/>
                  </a:lnTo>
                  <a:lnTo>
                    <a:pt x="116" y="1797"/>
                  </a:lnTo>
                  <a:close/>
                  <a:moveTo>
                    <a:pt x="116" y="1881"/>
                  </a:moveTo>
                  <a:lnTo>
                    <a:pt x="190" y="1881"/>
                  </a:lnTo>
                  <a:lnTo>
                    <a:pt x="190" y="1934"/>
                  </a:lnTo>
                  <a:lnTo>
                    <a:pt x="116" y="1934"/>
                  </a:lnTo>
                  <a:lnTo>
                    <a:pt x="116" y="1881"/>
                  </a:lnTo>
                  <a:close/>
                  <a:moveTo>
                    <a:pt x="116" y="1966"/>
                  </a:moveTo>
                  <a:lnTo>
                    <a:pt x="190" y="1966"/>
                  </a:lnTo>
                  <a:lnTo>
                    <a:pt x="190" y="2008"/>
                  </a:lnTo>
                  <a:lnTo>
                    <a:pt x="116" y="2008"/>
                  </a:lnTo>
                  <a:lnTo>
                    <a:pt x="116" y="1966"/>
                  </a:lnTo>
                  <a:close/>
                  <a:moveTo>
                    <a:pt x="116" y="2040"/>
                  </a:moveTo>
                  <a:lnTo>
                    <a:pt x="190" y="2040"/>
                  </a:lnTo>
                  <a:lnTo>
                    <a:pt x="190" y="2093"/>
                  </a:lnTo>
                  <a:lnTo>
                    <a:pt x="116" y="2093"/>
                  </a:lnTo>
                  <a:lnTo>
                    <a:pt x="116" y="2040"/>
                  </a:lnTo>
                  <a:close/>
                  <a:moveTo>
                    <a:pt x="116" y="2124"/>
                  </a:moveTo>
                  <a:lnTo>
                    <a:pt x="190" y="2124"/>
                  </a:lnTo>
                  <a:lnTo>
                    <a:pt x="190" y="2167"/>
                  </a:lnTo>
                  <a:lnTo>
                    <a:pt x="116" y="2167"/>
                  </a:lnTo>
                  <a:lnTo>
                    <a:pt x="116" y="2124"/>
                  </a:lnTo>
                  <a:close/>
                  <a:moveTo>
                    <a:pt x="116" y="2198"/>
                  </a:moveTo>
                  <a:lnTo>
                    <a:pt x="190" y="2198"/>
                  </a:lnTo>
                  <a:lnTo>
                    <a:pt x="190" y="2251"/>
                  </a:lnTo>
                  <a:lnTo>
                    <a:pt x="116" y="2251"/>
                  </a:lnTo>
                  <a:lnTo>
                    <a:pt x="116" y="2198"/>
                  </a:lnTo>
                  <a:close/>
                  <a:moveTo>
                    <a:pt x="116" y="2283"/>
                  </a:moveTo>
                  <a:lnTo>
                    <a:pt x="190" y="2283"/>
                  </a:lnTo>
                  <a:lnTo>
                    <a:pt x="190" y="2325"/>
                  </a:lnTo>
                  <a:lnTo>
                    <a:pt x="116" y="2325"/>
                  </a:lnTo>
                  <a:lnTo>
                    <a:pt x="116" y="2283"/>
                  </a:lnTo>
                  <a:close/>
                  <a:moveTo>
                    <a:pt x="116" y="2357"/>
                  </a:moveTo>
                  <a:lnTo>
                    <a:pt x="190" y="2357"/>
                  </a:lnTo>
                  <a:lnTo>
                    <a:pt x="190" y="2410"/>
                  </a:lnTo>
                  <a:lnTo>
                    <a:pt x="116" y="2410"/>
                  </a:lnTo>
                  <a:lnTo>
                    <a:pt x="116" y="2357"/>
                  </a:lnTo>
                  <a:close/>
                  <a:moveTo>
                    <a:pt x="116" y="2441"/>
                  </a:moveTo>
                  <a:lnTo>
                    <a:pt x="190" y="2441"/>
                  </a:lnTo>
                  <a:lnTo>
                    <a:pt x="190" y="2484"/>
                  </a:lnTo>
                  <a:lnTo>
                    <a:pt x="116" y="2484"/>
                  </a:lnTo>
                  <a:lnTo>
                    <a:pt x="116" y="2441"/>
                  </a:lnTo>
                  <a:close/>
                  <a:moveTo>
                    <a:pt x="116" y="2515"/>
                  </a:moveTo>
                  <a:lnTo>
                    <a:pt x="190" y="2515"/>
                  </a:lnTo>
                  <a:lnTo>
                    <a:pt x="190" y="2568"/>
                  </a:lnTo>
                  <a:lnTo>
                    <a:pt x="116" y="2568"/>
                  </a:lnTo>
                  <a:lnTo>
                    <a:pt x="116" y="2515"/>
                  </a:lnTo>
                  <a:close/>
                  <a:moveTo>
                    <a:pt x="116" y="2600"/>
                  </a:moveTo>
                  <a:lnTo>
                    <a:pt x="190" y="2600"/>
                  </a:lnTo>
                  <a:lnTo>
                    <a:pt x="190" y="2642"/>
                  </a:lnTo>
                  <a:lnTo>
                    <a:pt x="116" y="2642"/>
                  </a:lnTo>
                  <a:lnTo>
                    <a:pt x="116" y="2600"/>
                  </a:lnTo>
                  <a:close/>
                  <a:moveTo>
                    <a:pt x="116" y="2674"/>
                  </a:moveTo>
                  <a:lnTo>
                    <a:pt x="190" y="2674"/>
                  </a:lnTo>
                  <a:lnTo>
                    <a:pt x="190" y="2727"/>
                  </a:lnTo>
                  <a:lnTo>
                    <a:pt x="116" y="2727"/>
                  </a:lnTo>
                  <a:lnTo>
                    <a:pt x="116" y="2674"/>
                  </a:lnTo>
                  <a:close/>
                  <a:moveTo>
                    <a:pt x="116" y="2759"/>
                  </a:moveTo>
                  <a:lnTo>
                    <a:pt x="190" y="2759"/>
                  </a:lnTo>
                  <a:lnTo>
                    <a:pt x="190" y="2801"/>
                  </a:lnTo>
                  <a:lnTo>
                    <a:pt x="116" y="2801"/>
                  </a:lnTo>
                  <a:lnTo>
                    <a:pt x="116" y="2759"/>
                  </a:lnTo>
                  <a:close/>
                  <a:moveTo>
                    <a:pt x="116" y="2833"/>
                  </a:moveTo>
                  <a:lnTo>
                    <a:pt x="190" y="2833"/>
                  </a:lnTo>
                  <a:lnTo>
                    <a:pt x="190" y="2885"/>
                  </a:lnTo>
                  <a:lnTo>
                    <a:pt x="116" y="2885"/>
                  </a:lnTo>
                  <a:lnTo>
                    <a:pt x="116" y="2833"/>
                  </a:lnTo>
                  <a:close/>
                  <a:moveTo>
                    <a:pt x="116" y="2917"/>
                  </a:moveTo>
                  <a:lnTo>
                    <a:pt x="190" y="2917"/>
                  </a:lnTo>
                  <a:lnTo>
                    <a:pt x="190" y="2970"/>
                  </a:lnTo>
                  <a:lnTo>
                    <a:pt x="116" y="2970"/>
                  </a:lnTo>
                  <a:lnTo>
                    <a:pt x="116" y="2917"/>
                  </a:lnTo>
                  <a:close/>
                  <a:moveTo>
                    <a:pt x="116" y="3076"/>
                  </a:moveTo>
                  <a:lnTo>
                    <a:pt x="190" y="3076"/>
                  </a:lnTo>
                  <a:lnTo>
                    <a:pt x="190" y="3128"/>
                  </a:lnTo>
                  <a:lnTo>
                    <a:pt x="116" y="3128"/>
                  </a:lnTo>
                  <a:lnTo>
                    <a:pt x="116" y="3076"/>
                  </a:lnTo>
                  <a:close/>
                  <a:moveTo>
                    <a:pt x="116" y="3160"/>
                  </a:moveTo>
                  <a:lnTo>
                    <a:pt x="190" y="3160"/>
                  </a:lnTo>
                  <a:lnTo>
                    <a:pt x="190" y="3202"/>
                  </a:lnTo>
                  <a:lnTo>
                    <a:pt x="116" y="3202"/>
                  </a:lnTo>
                  <a:lnTo>
                    <a:pt x="116" y="3160"/>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42" name="Freeform 11">
              <a:extLst>
                <a:ext uri="{FF2B5EF4-FFF2-40B4-BE49-F238E27FC236}">
                  <a16:creationId xmlns:a16="http://schemas.microsoft.com/office/drawing/2014/main" id="{6807EFFF-6167-CC93-0B5E-FEDB4B8AA549}"/>
                </a:ext>
              </a:extLst>
            </p:cNvPr>
            <p:cNvSpPr>
              <a:spLocks noEditPoints="1"/>
            </p:cNvSpPr>
            <p:nvPr/>
          </p:nvSpPr>
          <p:spPr bwMode="auto">
            <a:xfrm>
              <a:off x="5974041" y="3060069"/>
              <a:ext cx="651539" cy="1400796"/>
            </a:xfrm>
            <a:custGeom>
              <a:avLst/>
              <a:gdLst>
                <a:gd name="T0" fmla="*/ 761 w 761"/>
                <a:gd name="T1" fmla="*/ 2199 h 2199"/>
                <a:gd name="T2" fmla="*/ 0 w 761"/>
                <a:gd name="T3" fmla="*/ 0 h 2199"/>
                <a:gd name="T4" fmla="*/ 624 w 761"/>
                <a:gd name="T5" fmla="*/ 243 h 2199"/>
                <a:gd name="T6" fmla="*/ 698 w 761"/>
                <a:gd name="T7" fmla="*/ 539 h 2199"/>
                <a:gd name="T8" fmla="*/ 624 w 761"/>
                <a:gd name="T9" fmla="*/ 243 h 2199"/>
                <a:gd name="T10" fmla="*/ 698 w 761"/>
                <a:gd name="T11" fmla="*/ 952 h 2199"/>
                <a:gd name="T12" fmla="*/ 624 w 761"/>
                <a:gd name="T13" fmla="*/ 1247 h 2199"/>
                <a:gd name="T14" fmla="*/ 624 w 761"/>
                <a:gd name="T15" fmla="*/ 1311 h 2199"/>
                <a:gd name="T16" fmla="*/ 698 w 761"/>
                <a:gd name="T17" fmla="*/ 1607 h 2199"/>
                <a:gd name="T18" fmla="*/ 624 w 761"/>
                <a:gd name="T19" fmla="*/ 1311 h 2199"/>
                <a:gd name="T20" fmla="*/ 698 w 761"/>
                <a:gd name="T21" fmla="*/ 1670 h 2199"/>
                <a:gd name="T22" fmla="*/ 624 w 761"/>
                <a:gd name="T23" fmla="*/ 1966 h 2199"/>
                <a:gd name="T24" fmla="*/ 476 w 761"/>
                <a:gd name="T25" fmla="*/ 243 h 2199"/>
                <a:gd name="T26" fmla="*/ 560 w 761"/>
                <a:gd name="T27" fmla="*/ 539 h 2199"/>
                <a:gd name="T28" fmla="*/ 476 w 761"/>
                <a:gd name="T29" fmla="*/ 243 h 2199"/>
                <a:gd name="T30" fmla="*/ 560 w 761"/>
                <a:gd name="T31" fmla="*/ 603 h 2199"/>
                <a:gd name="T32" fmla="*/ 476 w 761"/>
                <a:gd name="T33" fmla="*/ 899 h 2199"/>
                <a:gd name="T34" fmla="*/ 476 w 761"/>
                <a:gd name="T35" fmla="*/ 952 h 2199"/>
                <a:gd name="T36" fmla="*/ 560 w 761"/>
                <a:gd name="T37" fmla="*/ 1247 h 2199"/>
                <a:gd name="T38" fmla="*/ 476 w 761"/>
                <a:gd name="T39" fmla="*/ 952 h 2199"/>
                <a:gd name="T40" fmla="*/ 560 w 761"/>
                <a:gd name="T41" fmla="*/ 1311 h 2199"/>
                <a:gd name="T42" fmla="*/ 476 w 761"/>
                <a:gd name="T43" fmla="*/ 1607 h 2199"/>
                <a:gd name="T44" fmla="*/ 338 w 761"/>
                <a:gd name="T45" fmla="*/ 243 h 2199"/>
                <a:gd name="T46" fmla="*/ 423 w 761"/>
                <a:gd name="T47" fmla="*/ 539 h 2199"/>
                <a:gd name="T48" fmla="*/ 338 w 761"/>
                <a:gd name="T49" fmla="*/ 243 h 2199"/>
                <a:gd name="T50" fmla="*/ 423 w 761"/>
                <a:gd name="T51" fmla="*/ 952 h 2199"/>
                <a:gd name="T52" fmla="*/ 338 w 761"/>
                <a:gd name="T53" fmla="*/ 1247 h 2199"/>
                <a:gd name="T54" fmla="*/ 338 w 761"/>
                <a:gd name="T55" fmla="*/ 1311 h 2199"/>
                <a:gd name="T56" fmla="*/ 423 w 761"/>
                <a:gd name="T57" fmla="*/ 1607 h 2199"/>
                <a:gd name="T58" fmla="*/ 338 w 761"/>
                <a:gd name="T59" fmla="*/ 1311 h 2199"/>
                <a:gd name="T60" fmla="*/ 423 w 761"/>
                <a:gd name="T61" fmla="*/ 1670 h 2199"/>
                <a:gd name="T62" fmla="*/ 338 w 761"/>
                <a:gd name="T63" fmla="*/ 1966 h 2199"/>
                <a:gd name="T64" fmla="*/ 201 w 761"/>
                <a:gd name="T65" fmla="*/ 243 h 2199"/>
                <a:gd name="T66" fmla="*/ 275 w 761"/>
                <a:gd name="T67" fmla="*/ 539 h 2199"/>
                <a:gd name="T68" fmla="*/ 201 w 761"/>
                <a:gd name="T69" fmla="*/ 243 h 2199"/>
                <a:gd name="T70" fmla="*/ 275 w 761"/>
                <a:gd name="T71" fmla="*/ 603 h 2199"/>
                <a:gd name="T72" fmla="*/ 201 w 761"/>
                <a:gd name="T73" fmla="*/ 899 h 2199"/>
                <a:gd name="T74" fmla="*/ 201 w 761"/>
                <a:gd name="T75" fmla="*/ 952 h 2199"/>
                <a:gd name="T76" fmla="*/ 275 w 761"/>
                <a:gd name="T77" fmla="*/ 1247 h 2199"/>
                <a:gd name="T78" fmla="*/ 201 w 761"/>
                <a:gd name="T79" fmla="*/ 952 h 2199"/>
                <a:gd name="T80" fmla="*/ 275 w 761"/>
                <a:gd name="T81" fmla="*/ 1670 h 2199"/>
                <a:gd name="T82" fmla="*/ 201 w 761"/>
                <a:gd name="T83" fmla="*/ 1966 h 2199"/>
                <a:gd name="T84" fmla="*/ 63 w 761"/>
                <a:gd name="T85" fmla="*/ 603 h 2199"/>
                <a:gd name="T86" fmla="*/ 137 w 761"/>
                <a:gd name="T87" fmla="*/ 899 h 2199"/>
                <a:gd name="T88" fmla="*/ 63 w 761"/>
                <a:gd name="T89" fmla="*/ 603 h 2199"/>
                <a:gd name="T90" fmla="*/ 137 w 761"/>
                <a:gd name="T91" fmla="*/ 952 h 2199"/>
                <a:gd name="T92" fmla="*/ 63 w 761"/>
                <a:gd name="T93" fmla="*/ 1247 h 2199"/>
                <a:gd name="T94" fmla="*/ 63 w 761"/>
                <a:gd name="T95" fmla="*/ 1311 h 2199"/>
                <a:gd name="T96" fmla="*/ 137 w 761"/>
                <a:gd name="T97" fmla="*/ 1607 h 2199"/>
                <a:gd name="T98" fmla="*/ 63 w 761"/>
                <a:gd name="T99" fmla="*/ 1311 h 2199"/>
                <a:gd name="T100" fmla="*/ 137 w 761"/>
                <a:gd name="T101" fmla="*/ 1670 h 2199"/>
                <a:gd name="T102" fmla="*/ 63 w 761"/>
                <a:gd name="T103" fmla="*/ 1966 h 2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1" h="2199">
                  <a:moveTo>
                    <a:pt x="0" y="2199"/>
                  </a:moveTo>
                  <a:lnTo>
                    <a:pt x="761" y="2199"/>
                  </a:lnTo>
                  <a:lnTo>
                    <a:pt x="761" y="0"/>
                  </a:lnTo>
                  <a:lnTo>
                    <a:pt x="0" y="0"/>
                  </a:lnTo>
                  <a:lnTo>
                    <a:pt x="0" y="2199"/>
                  </a:lnTo>
                  <a:close/>
                  <a:moveTo>
                    <a:pt x="624" y="243"/>
                  </a:moveTo>
                  <a:lnTo>
                    <a:pt x="698" y="243"/>
                  </a:lnTo>
                  <a:lnTo>
                    <a:pt x="698" y="539"/>
                  </a:lnTo>
                  <a:lnTo>
                    <a:pt x="624" y="539"/>
                  </a:lnTo>
                  <a:lnTo>
                    <a:pt x="624" y="243"/>
                  </a:lnTo>
                  <a:close/>
                  <a:moveTo>
                    <a:pt x="624" y="952"/>
                  </a:moveTo>
                  <a:lnTo>
                    <a:pt x="698" y="952"/>
                  </a:lnTo>
                  <a:lnTo>
                    <a:pt x="698" y="1247"/>
                  </a:lnTo>
                  <a:lnTo>
                    <a:pt x="624" y="1247"/>
                  </a:lnTo>
                  <a:lnTo>
                    <a:pt x="624" y="952"/>
                  </a:lnTo>
                  <a:close/>
                  <a:moveTo>
                    <a:pt x="624" y="1311"/>
                  </a:moveTo>
                  <a:lnTo>
                    <a:pt x="698" y="1311"/>
                  </a:lnTo>
                  <a:lnTo>
                    <a:pt x="698" y="1607"/>
                  </a:lnTo>
                  <a:lnTo>
                    <a:pt x="624" y="1607"/>
                  </a:lnTo>
                  <a:lnTo>
                    <a:pt x="624" y="1311"/>
                  </a:lnTo>
                  <a:close/>
                  <a:moveTo>
                    <a:pt x="624" y="1670"/>
                  </a:moveTo>
                  <a:lnTo>
                    <a:pt x="698" y="1670"/>
                  </a:lnTo>
                  <a:lnTo>
                    <a:pt x="698" y="1966"/>
                  </a:lnTo>
                  <a:lnTo>
                    <a:pt x="624" y="1966"/>
                  </a:lnTo>
                  <a:lnTo>
                    <a:pt x="624" y="1670"/>
                  </a:lnTo>
                  <a:close/>
                  <a:moveTo>
                    <a:pt x="476" y="243"/>
                  </a:moveTo>
                  <a:lnTo>
                    <a:pt x="560" y="243"/>
                  </a:lnTo>
                  <a:lnTo>
                    <a:pt x="560" y="539"/>
                  </a:lnTo>
                  <a:lnTo>
                    <a:pt x="476" y="539"/>
                  </a:lnTo>
                  <a:lnTo>
                    <a:pt x="476" y="243"/>
                  </a:lnTo>
                  <a:close/>
                  <a:moveTo>
                    <a:pt x="476" y="603"/>
                  </a:moveTo>
                  <a:lnTo>
                    <a:pt x="560" y="603"/>
                  </a:lnTo>
                  <a:lnTo>
                    <a:pt x="560" y="899"/>
                  </a:lnTo>
                  <a:lnTo>
                    <a:pt x="476" y="899"/>
                  </a:lnTo>
                  <a:lnTo>
                    <a:pt x="476" y="603"/>
                  </a:lnTo>
                  <a:close/>
                  <a:moveTo>
                    <a:pt x="476" y="952"/>
                  </a:moveTo>
                  <a:lnTo>
                    <a:pt x="560" y="952"/>
                  </a:lnTo>
                  <a:lnTo>
                    <a:pt x="560" y="1247"/>
                  </a:lnTo>
                  <a:lnTo>
                    <a:pt x="476" y="1247"/>
                  </a:lnTo>
                  <a:lnTo>
                    <a:pt x="476" y="952"/>
                  </a:lnTo>
                  <a:close/>
                  <a:moveTo>
                    <a:pt x="476" y="1311"/>
                  </a:moveTo>
                  <a:lnTo>
                    <a:pt x="560" y="1311"/>
                  </a:lnTo>
                  <a:lnTo>
                    <a:pt x="560" y="1607"/>
                  </a:lnTo>
                  <a:lnTo>
                    <a:pt x="476" y="1607"/>
                  </a:lnTo>
                  <a:lnTo>
                    <a:pt x="476" y="1311"/>
                  </a:lnTo>
                  <a:close/>
                  <a:moveTo>
                    <a:pt x="338" y="243"/>
                  </a:moveTo>
                  <a:lnTo>
                    <a:pt x="423" y="243"/>
                  </a:lnTo>
                  <a:lnTo>
                    <a:pt x="423" y="539"/>
                  </a:lnTo>
                  <a:lnTo>
                    <a:pt x="338" y="539"/>
                  </a:lnTo>
                  <a:lnTo>
                    <a:pt x="338" y="243"/>
                  </a:lnTo>
                  <a:close/>
                  <a:moveTo>
                    <a:pt x="338" y="952"/>
                  </a:moveTo>
                  <a:lnTo>
                    <a:pt x="423" y="952"/>
                  </a:lnTo>
                  <a:lnTo>
                    <a:pt x="423" y="1247"/>
                  </a:lnTo>
                  <a:lnTo>
                    <a:pt x="338" y="1247"/>
                  </a:lnTo>
                  <a:lnTo>
                    <a:pt x="338" y="952"/>
                  </a:lnTo>
                  <a:close/>
                  <a:moveTo>
                    <a:pt x="338" y="1311"/>
                  </a:moveTo>
                  <a:lnTo>
                    <a:pt x="423" y="1311"/>
                  </a:lnTo>
                  <a:lnTo>
                    <a:pt x="423" y="1607"/>
                  </a:lnTo>
                  <a:lnTo>
                    <a:pt x="338" y="1607"/>
                  </a:lnTo>
                  <a:lnTo>
                    <a:pt x="338" y="1311"/>
                  </a:lnTo>
                  <a:close/>
                  <a:moveTo>
                    <a:pt x="338" y="1670"/>
                  </a:moveTo>
                  <a:lnTo>
                    <a:pt x="423" y="1670"/>
                  </a:lnTo>
                  <a:lnTo>
                    <a:pt x="423" y="1966"/>
                  </a:lnTo>
                  <a:lnTo>
                    <a:pt x="338" y="1966"/>
                  </a:lnTo>
                  <a:lnTo>
                    <a:pt x="338" y="1670"/>
                  </a:lnTo>
                  <a:close/>
                  <a:moveTo>
                    <a:pt x="201" y="243"/>
                  </a:moveTo>
                  <a:lnTo>
                    <a:pt x="275" y="243"/>
                  </a:lnTo>
                  <a:lnTo>
                    <a:pt x="275" y="539"/>
                  </a:lnTo>
                  <a:lnTo>
                    <a:pt x="201" y="539"/>
                  </a:lnTo>
                  <a:lnTo>
                    <a:pt x="201" y="243"/>
                  </a:lnTo>
                  <a:close/>
                  <a:moveTo>
                    <a:pt x="201" y="603"/>
                  </a:moveTo>
                  <a:lnTo>
                    <a:pt x="275" y="603"/>
                  </a:lnTo>
                  <a:lnTo>
                    <a:pt x="275" y="899"/>
                  </a:lnTo>
                  <a:lnTo>
                    <a:pt x="201" y="899"/>
                  </a:lnTo>
                  <a:lnTo>
                    <a:pt x="201" y="603"/>
                  </a:lnTo>
                  <a:close/>
                  <a:moveTo>
                    <a:pt x="201" y="952"/>
                  </a:moveTo>
                  <a:lnTo>
                    <a:pt x="275" y="952"/>
                  </a:lnTo>
                  <a:lnTo>
                    <a:pt x="275" y="1247"/>
                  </a:lnTo>
                  <a:lnTo>
                    <a:pt x="201" y="1247"/>
                  </a:lnTo>
                  <a:lnTo>
                    <a:pt x="201" y="952"/>
                  </a:lnTo>
                  <a:close/>
                  <a:moveTo>
                    <a:pt x="201" y="1670"/>
                  </a:moveTo>
                  <a:lnTo>
                    <a:pt x="275" y="1670"/>
                  </a:lnTo>
                  <a:lnTo>
                    <a:pt x="275" y="1966"/>
                  </a:lnTo>
                  <a:lnTo>
                    <a:pt x="201" y="1966"/>
                  </a:lnTo>
                  <a:lnTo>
                    <a:pt x="201" y="1670"/>
                  </a:lnTo>
                  <a:close/>
                  <a:moveTo>
                    <a:pt x="63" y="603"/>
                  </a:moveTo>
                  <a:lnTo>
                    <a:pt x="137" y="603"/>
                  </a:lnTo>
                  <a:lnTo>
                    <a:pt x="137" y="899"/>
                  </a:lnTo>
                  <a:lnTo>
                    <a:pt x="63" y="899"/>
                  </a:lnTo>
                  <a:lnTo>
                    <a:pt x="63" y="603"/>
                  </a:lnTo>
                  <a:close/>
                  <a:moveTo>
                    <a:pt x="63" y="952"/>
                  </a:moveTo>
                  <a:lnTo>
                    <a:pt x="137" y="952"/>
                  </a:lnTo>
                  <a:lnTo>
                    <a:pt x="137" y="1247"/>
                  </a:lnTo>
                  <a:lnTo>
                    <a:pt x="63" y="1247"/>
                  </a:lnTo>
                  <a:lnTo>
                    <a:pt x="63" y="952"/>
                  </a:lnTo>
                  <a:close/>
                  <a:moveTo>
                    <a:pt x="63" y="1311"/>
                  </a:moveTo>
                  <a:lnTo>
                    <a:pt x="137" y="1311"/>
                  </a:lnTo>
                  <a:lnTo>
                    <a:pt x="137" y="1607"/>
                  </a:lnTo>
                  <a:lnTo>
                    <a:pt x="63" y="1607"/>
                  </a:lnTo>
                  <a:lnTo>
                    <a:pt x="63" y="1311"/>
                  </a:lnTo>
                  <a:close/>
                  <a:moveTo>
                    <a:pt x="63" y="1670"/>
                  </a:moveTo>
                  <a:lnTo>
                    <a:pt x="137" y="1670"/>
                  </a:lnTo>
                  <a:lnTo>
                    <a:pt x="137" y="1966"/>
                  </a:lnTo>
                  <a:lnTo>
                    <a:pt x="63" y="1966"/>
                  </a:lnTo>
                  <a:lnTo>
                    <a:pt x="63" y="167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43" name="Freeform 12">
              <a:extLst>
                <a:ext uri="{FF2B5EF4-FFF2-40B4-BE49-F238E27FC236}">
                  <a16:creationId xmlns:a16="http://schemas.microsoft.com/office/drawing/2014/main" id="{02476526-B7D0-0263-B145-DA6F04EA733E}"/>
                </a:ext>
              </a:extLst>
            </p:cNvPr>
            <p:cNvSpPr>
              <a:spLocks noEditPoints="1"/>
            </p:cNvSpPr>
            <p:nvPr/>
          </p:nvSpPr>
          <p:spPr bwMode="auto">
            <a:xfrm>
              <a:off x="4028843" y="3342903"/>
              <a:ext cx="515409" cy="1117962"/>
            </a:xfrm>
            <a:custGeom>
              <a:avLst/>
              <a:gdLst>
                <a:gd name="T0" fmla="*/ 0 w 602"/>
                <a:gd name="T1" fmla="*/ 0 h 1755"/>
                <a:gd name="T2" fmla="*/ 549 w 602"/>
                <a:gd name="T3" fmla="*/ 307 h 1755"/>
                <a:gd name="T4" fmla="*/ 549 w 602"/>
                <a:gd name="T5" fmla="*/ 338 h 1755"/>
                <a:gd name="T6" fmla="*/ 507 w 602"/>
                <a:gd name="T7" fmla="*/ 486 h 1755"/>
                <a:gd name="T8" fmla="*/ 507 w 602"/>
                <a:gd name="T9" fmla="*/ 486 h 1755"/>
                <a:gd name="T10" fmla="*/ 507 w 602"/>
                <a:gd name="T11" fmla="*/ 761 h 1755"/>
                <a:gd name="T12" fmla="*/ 549 w 602"/>
                <a:gd name="T13" fmla="*/ 899 h 1755"/>
                <a:gd name="T14" fmla="*/ 549 w 602"/>
                <a:gd name="T15" fmla="*/ 930 h 1755"/>
                <a:gd name="T16" fmla="*/ 507 w 602"/>
                <a:gd name="T17" fmla="*/ 1068 h 1755"/>
                <a:gd name="T18" fmla="*/ 507 w 602"/>
                <a:gd name="T19" fmla="*/ 1068 h 1755"/>
                <a:gd name="T20" fmla="*/ 507 w 602"/>
                <a:gd name="T21" fmla="*/ 1490 h 1755"/>
                <a:gd name="T22" fmla="*/ 549 w 602"/>
                <a:gd name="T23" fmla="*/ 1628 h 1755"/>
                <a:gd name="T24" fmla="*/ 444 w 602"/>
                <a:gd name="T25" fmla="*/ 201 h 1755"/>
                <a:gd name="T26" fmla="*/ 380 w 602"/>
                <a:gd name="T27" fmla="*/ 486 h 1755"/>
                <a:gd name="T28" fmla="*/ 380 w 602"/>
                <a:gd name="T29" fmla="*/ 486 h 1755"/>
                <a:gd name="T30" fmla="*/ 380 w 602"/>
                <a:gd name="T31" fmla="*/ 761 h 1755"/>
                <a:gd name="T32" fmla="*/ 444 w 602"/>
                <a:gd name="T33" fmla="*/ 1057 h 1755"/>
                <a:gd name="T34" fmla="*/ 444 w 602"/>
                <a:gd name="T35" fmla="*/ 1205 h 1755"/>
                <a:gd name="T36" fmla="*/ 380 w 602"/>
                <a:gd name="T37" fmla="*/ 1353 h 1755"/>
                <a:gd name="T38" fmla="*/ 380 w 602"/>
                <a:gd name="T39" fmla="*/ 1353 h 1755"/>
                <a:gd name="T40" fmla="*/ 274 w 602"/>
                <a:gd name="T41" fmla="*/ 307 h 1755"/>
                <a:gd name="T42" fmla="*/ 338 w 602"/>
                <a:gd name="T43" fmla="*/ 465 h 1755"/>
                <a:gd name="T44" fmla="*/ 338 w 602"/>
                <a:gd name="T45" fmla="*/ 486 h 1755"/>
                <a:gd name="T46" fmla="*/ 274 w 602"/>
                <a:gd name="T47" fmla="*/ 634 h 1755"/>
                <a:gd name="T48" fmla="*/ 274 w 602"/>
                <a:gd name="T49" fmla="*/ 634 h 1755"/>
                <a:gd name="T50" fmla="*/ 274 w 602"/>
                <a:gd name="T51" fmla="*/ 899 h 1755"/>
                <a:gd name="T52" fmla="*/ 338 w 602"/>
                <a:gd name="T53" fmla="*/ 1057 h 1755"/>
                <a:gd name="T54" fmla="*/ 338 w 602"/>
                <a:gd name="T55" fmla="*/ 1068 h 1755"/>
                <a:gd name="T56" fmla="*/ 274 w 602"/>
                <a:gd name="T57" fmla="*/ 1205 h 1755"/>
                <a:gd name="T58" fmla="*/ 274 w 602"/>
                <a:gd name="T59" fmla="*/ 1205 h 1755"/>
                <a:gd name="T60" fmla="*/ 274 w 602"/>
                <a:gd name="T61" fmla="*/ 1490 h 1755"/>
                <a:gd name="T62" fmla="*/ 338 w 602"/>
                <a:gd name="T63" fmla="*/ 1628 h 1755"/>
                <a:gd name="T64" fmla="*/ 232 w 602"/>
                <a:gd name="T65" fmla="*/ 338 h 1755"/>
                <a:gd name="T66" fmla="*/ 169 w 602"/>
                <a:gd name="T67" fmla="*/ 634 h 1755"/>
                <a:gd name="T68" fmla="*/ 169 w 602"/>
                <a:gd name="T69" fmla="*/ 634 h 1755"/>
                <a:gd name="T70" fmla="*/ 169 w 602"/>
                <a:gd name="T71" fmla="*/ 1173 h 1755"/>
                <a:gd name="T72" fmla="*/ 232 w 602"/>
                <a:gd name="T73" fmla="*/ 1490 h 1755"/>
                <a:gd name="T74" fmla="*/ 116 w 602"/>
                <a:gd name="T75" fmla="*/ 201 h 1755"/>
                <a:gd name="T76" fmla="*/ 42 w 602"/>
                <a:gd name="T77" fmla="*/ 338 h 1755"/>
                <a:gd name="T78" fmla="*/ 42 w 602"/>
                <a:gd name="T79" fmla="*/ 338 h 1755"/>
                <a:gd name="T80" fmla="*/ 42 w 602"/>
                <a:gd name="T81" fmla="*/ 603 h 1755"/>
                <a:gd name="T82" fmla="*/ 116 w 602"/>
                <a:gd name="T83" fmla="*/ 761 h 1755"/>
                <a:gd name="T84" fmla="*/ 116 w 602"/>
                <a:gd name="T85" fmla="*/ 772 h 1755"/>
                <a:gd name="T86" fmla="*/ 42 w 602"/>
                <a:gd name="T87" fmla="*/ 930 h 1755"/>
                <a:gd name="T88" fmla="*/ 42 w 602"/>
                <a:gd name="T89" fmla="*/ 930 h 1755"/>
                <a:gd name="T90" fmla="*/ 42 w 602"/>
                <a:gd name="T91" fmla="*/ 1173 h 1755"/>
                <a:gd name="T92" fmla="*/ 116 w 602"/>
                <a:gd name="T93" fmla="*/ 1490 h 1755"/>
                <a:gd name="T94" fmla="*/ 116 w 602"/>
                <a:gd name="T95" fmla="*/ 150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02" h="1755">
                  <a:moveTo>
                    <a:pt x="0" y="1755"/>
                  </a:moveTo>
                  <a:lnTo>
                    <a:pt x="602" y="1755"/>
                  </a:lnTo>
                  <a:lnTo>
                    <a:pt x="602" y="0"/>
                  </a:lnTo>
                  <a:lnTo>
                    <a:pt x="0" y="0"/>
                  </a:lnTo>
                  <a:lnTo>
                    <a:pt x="0" y="1755"/>
                  </a:lnTo>
                  <a:close/>
                  <a:moveTo>
                    <a:pt x="507" y="201"/>
                  </a:moveTo>
                  <a:lnTo>
                    <a:pt x="549" y="201"/>
                  </a:lnTo>
                  <a:lnTo>
                    <a:pt x="549" y="307"/>
                  </a:lnTo>
                  <a:lnTo>
                    <a:pt x="507" y="307"/>
                  </a:lnTo>
                  <a:lnTo>
                    <a:pt x="507" y="201"/>
                  </a:lnTo>
                  <a:close/>
                  <a:moveTo>
                    <a:pt x="507" y="338"/>
                  </a:moveTo>
                  <a:lnTo>
                    <a:pt x="549" y="338"/>
                  </a:lnTo>
                  <a:lnTo>
                    <a:pt x="549" y="465"/>
                  </a:lnTo>
                  <a:lnTo>
                    <a:pt x="507" y="465"/>
                  </a:lnTo>
                  <a:lnTo>
                    <a:pt x="507" y="338"/>
                  </a:lnTo>
                  <a:close/>
                  <a:moveTo>
                    <a:pt x="507" y="486"/>
                  </a:moveTo>
                  <a:lnTo>
                    <a:pt x="549" y="486"/>
                  </a:lnTo>
                  <a:lnTo>
                    <a:pt x="549" y="603"/>
                  </a:lnTo>
                  <a:lnTo>
                    <a:pt x="507" y="603"/>
                  </a:lnTo>
                  <a:lnTo>
                    <a:pt x="507" y="486"/>
                  </a:lnTo>
                  <a:close/>
                  <a:moveTo>
                    <a:pt x="507" y="634"/>
                  </a:moveTo>
                  <a:lnTo>
                    <a:pt x="549" y="634"/>
                  </a:lnTo>
                  <a:lnTo>
                    <a:pt x="549" y="761"/>
                  </a:lnTo>
                  <a:lnTo>
                    <a:pt x="507" y="761"/>
                  </a:lnTo>
                  <a:lnTo>
                    <a:pt x="507" y="634"/>
                  </a:lnTo>
                  <a:close/>
                  <a:moveTo>
                    <a:pt x="507" y="772"/>
                  </a:moveTo>
                  <a:lnTo>
                    <a:pt x="549" y="772"/>
                  </a:lnTo>
                  <a:lnTo>
                    <a:pt x="549" y="899"/>
                  </a:lnTo>
                  <a:lnTo>
                    <a:pt x="507" y="899"/>
                  </a:lnTo>
                  <a:lnTo>
                    <a:pt x="507" y="772"/>
                  </a:lnTo>
                  <a:close/>
                  <a:moveTo>
                    <a:pt x="507" y="930"/>
                  </a:moveTo>
                  <a:lnTo>
                    <a:pt x="549" y="930"/>
                  </a:lnTo>
                  <a:lnTo>
                    <a:pt x="549" y="1057"/>
                  </a:lnTo>
                  <a:lnTo>
                    <a:pt x="507" y="1057"/>
                  </a:lnTo>
                  <a:lnTo>
                    <a:pt x="507" y="930"/>
                  </a:lnTo>
                  <a:close/>
                  <a:moveTo>
                    <a:pt x="507" y="1068"/>
                  </a:moveTo>
                  <a:lnTo>
                    <a:pt x="549" y="1068"/>
                  </a:lnTo>
                  <a:lnTo>
                    <a:pt x="549" y="1173"/>
                  </a:lnTo>
                  <a:lnTo>
                    <a:pt x="507" y="1173"/>
                  </a:lnTo>
                  <a:lnTo>
                    <a:pt x="507" y="1068"/>
                  </a:lnTo>
                  <a:close/>
                  <a:moveTo>
                    <a:pt x="507" y="1353"/>
                  </a:moveTo>
                  <a:lnTo>
                    <a:pt x="549" y="1353"/>
                  </a:lnTo>
                  <a:lnTo>
                    <a:pt x="549" y="1490"/>
                  </a:lnTo>
                  <a:lnTo>
                    <a:pt x="507" y="1490"/>
                  </a:lnTo>
                  <a:lnTo>
                    <a:pt x="507" y="1353"/>
                  </a:lnTo>
                  <a:close/>
                  <a:moveTo>
                    <a:pt x="507" y="1501"/>
                  </a:moveTo>
                  <a:lnTo>
                    <a:pt x="549" y="1501"/>
                  </a:lnTo>
                  <a:lnTo>
                    <a:pt x="549" y="1628"/>
                  </a:lnTo>
                  <a:lnTo>
                    <a:pt x="507" y="1628"/>
                  </a:lnTo>
                  <a:lnTo>
                    <a:pt x="507" y="1501"/>
                  </a:lnTo>
                  <a:close/>
                  <a:moveTo>
                    <a:pt x="380" y="201"/>
                  </a:moveTo>
                  <a:lnTo>
                    <a:pt x="444" y="201"/>
                  </a:lnTo>
                  <a:lnTo>
                    <a:pt x="444" y="307"/>
                  </a:lnTo>
                  <a:lnTo>
                    <a:pt x="380" y="307"/>
                  </a:lnTo>
                  <a:lnTo>
                    <a:pt x="380" y="201"/>
                  </a:lnTo>
                  <a:close/>
                  <a:moveTo>
                    <a:pt x="380" y="486"/>
                  </a:moveTo>
                  <a:lnTo>
                    <a:pt x="444" y="486"/>
                  </a:lnTo>
                  <a:lnTo>
                    <a:pt x="444" y="603"/>
                  </a:lnTo>
                  <a:lnTo>
                    <a:pt x="380" y="603"/>
                  </a:lnTo>
                  <a:lnTo>
                    <a:pt x="380" y="486"/>
                  </a:lnTo>
                  <a:close/>
                  <a:moveTo>
                    <a:pt x="380" y="634"/>
                  </a:moveTo>
                  <a:lnTo>
                    <a:pt x="444" y="634"/>
                  </a:lnTo>
                  <a:lnTo>
                    <a:pt x="444" y="761"/>
                  </a:lnTo>
                  <a:lnTo>
                    <a:pt x="380" y="761"/>
                  </a:lnTo>
                  <a:lnTo>
                    <a:pt x="380" y="634"/>
                  </a:lnTo>
                  <a:close/>
                  <a:moveTo>
                    <a:pt x="380" y="930"/>
                  </a:moveTo>
                  <a:lnTo>
                    <a:pt x="444" y="930"/>
                  </a:lnTo>
                  <a:lnTo>
                    <a:pt x="444" y="1057"/>
                  </a:lnTo>
                  <a:lnTo>
                    <a:pt x="380" y="1057"/>
                  </a:lnTo>
                  <a:lnTo>
                    <a:pt x="380" y="930"/>
                  </a:lnTo>
                  <a:close/>
                  <a:moveTo>
                    <a:pt x="380" y="1205"/>
                  </a:moveTo>
                  <a:lnTo>
                    <a:pt x="444" y="1205"/>
                  </a:lnTo>
                  <a:lnTo>
                    <a:pt x="444" y="1332"/>
                  </a:lnTo>
                  <a:lnTo>
                    <a:pt x="380" y="1332"/>
                  </a:lnTo>
                  <a:lnTo>
                    <a:pt x="380" y="1205"/>
                  </a:lnTo>
                  <a:close/>
                  <a:moveTo>
                    <a:pt x="380" y="1353"/>
                  </a:moveTo>
                  <a:lnTo>
                    <a:pt x="444" y="1353"/>
                  </a:lnTo>
                  <a:lnTo>
                    <a:pt x="444" y="1490"/>
                  </a:lnTo>
                  <a:lnTo>
                    <a:pt x="380" y="1490"/>
                  </a:lnTo>
                  <a:lnTo>
                    <a:pt x="380" y="1353"/>
                  </a:lnTo>
                  <a:close/>
                  <a:moveTo>
                    <a:pt x="274" y="201"/>
                  </a:moveTo>
                  <a:lnTo>
                    <a:pt x="338" y="201"/>
                  </a:lnTo>
                  <a:lnTo>
                    <a:pt x="338" y="307"/>
                  </a:lnTo>
                  <a:lnTo>
                    <a:pt x="274" y="307"/>
                  </a:lnTo>
                  <a:lnTo>
                    <a:pt x="274" y="201"/>
                  </a:lnTo>
                  <a:close/>
                  <a:moveTo>
                    <a:pt x="274" y="338"/>
                  </a:moveTo>
                  <a:lnTo>
                    <a:pt x="338" y="338"/>
                  </a:lnTo>
                  <a:lnTo>
                    <a:pt x="338" y="465"/>
                  </a:lnTo>
                  <a:lnTo>
                    <a:pt x="274" y="465"/>
                  </a:lnTo>
                  <a:lnTo>
                    <a:pt x="274" y="338"/>
                  </a:lnTo>
                  <a:close/>
                  <a:moveTo>
                    <a:pt x="274" y="486"/>
                  </a:moveTo>
                  <a:lnTo>
                    <a:pt x="338" y="486"/>
                  </a:lnTo>
                  <a:lnTo>
                    <a:pt x="338" y="603"/>
                  </a:lnTo>
                  <a:lnTo>
                    <a:pt x="274" y="603"/>
                  </a:lnTo>
                  <a:lnTo>
                    <a:pt x="274" y="486"/>
                  </a:lnTo>
                  <a:close/>
                  <a:moveTo>
                    <a:pt x="274" y="634"/>
                  </a:moveTo>
                  <a:lnTo>
                    <a:pt x="338" y="634"/>
                  </a:lnTo>
                  <a:lnTo>
                    <a:pt x="338" y="761"/>
                  </a:lnTo>
                  <a:lnTo>
                    <a:pt x="274" y="761"/>
                  </a:lnTo>
                  <a:lnTo>
                    <a:pt x="274" y="634"/>
                  </a:lnTo>
                  <a:close/>
                  <a:moveTo>
                    <a:pt x="274" y="772"/>
                  </a:moveTo>
                  <a:lnTo>
                    <a:pt x="338" y="772"/>
                  </a:lnTo>
                  <a:lnTo>
                    <a:pt x="338" y="899"/>
                  </a:lnTo>
                  <a:lnTo>
                    <a:pt x="274" y="899"/>
                  </a:lnTo>
                  <a:lnTo>
                    <a:pt x="274" y="772"/>
                  </a:lnTo>
                  <a:close/>
                  <a:moveTo>
                    <a:pt x="274" y="930"/>
                  </a:moveTo>
                  <a:lnTo>
                    <a:pt x="338" y="930"/>
                  </a:lnTo>
                  <a:lnTo>
                    <a:pt x="338" y="1057"/>
                  </a:lnTo>
                  <a:lnTo>
                    <a:pt x="274" y="1057"/>
                  </a:lnTo>
                  <a:lnTo>
                    <a:pt x="274" y="930"/>
                  </a:lnTo>
                  <a:close/>
                  <a:moveTo>
                    <a:pt x="274" y="1068"/>
                  </a:moveTo>
                  <a:lnTo>
                    <a:pt x="338" y="1068"/>
                  </a:lnTo>
                  <a:lnTo>
                    <a:pt x="338" y="1173"/>
                  </a:lnTo>
                  <a:lnTo>
                    <a:pt x="274" y="1173"/>
                  </a:lnTo>
                  <a:lnTo>
                    <a:pt x="274" y="1068"/>
                  </a:lnTo>
                  <a:close/>
                  <a:moveTo>
                    <a:pt x="274" y="1205"/>
                  </a:moveTo>
                  <a:lnTo>
                    <a:pt x="338" y="1205"/>
                  </a:lnTo>
                  <a:lnTo>
                    <a:pt x="338" y="1332"/>
                  </a:lnTo>
                  <a:lnTo>
                    <a:pt x="274" y="1332"/>
                  </a:lnTo>
                  <a:lnTo>
                    <a:pt x="274" y="1205"/>
                  </a:lnTo>
                  <a:close/>
                  <a:moveTo>
                    <a:pt x="274" y="1353"/>
                  </a:moveTo>
                  <a:lnTo>
                    <a:pt x="338" y="1353"/>
                  </a:lnTo>
                  <a:lnTo>
                    <a:pt x="338" y="1490"/>
                  </a:lnTo>
                  <a:lnTo>
                    <a:pt x="274" y="1490"/>
                  </a:lnTo>
                  <a:lnTo>
                    <a:pt x="274" y="1353"/>
                  </a:lnTo>
                  <a:close/>
                  <a:moveTo>
                    <a:pt x="274" y="1501"/>
                  </a:moveTo>
                  <a:lnTo>
                    <a:pt x="338" y="1501"/>
                  </a:lnTo>
                  <a:lnTo>
                    <a:pt x="338" y="1628"/>
                  </a:lnTo>
                  <a:lnTo>
                    <a:pt x="274" y="1628"/>
                  </a:lnTo>
                  <a:lnTo>
                    <a:pt x="274" y="1501"/>
                  </a:lnTo>
                  <a:close/>
                  <a:moveTo>
                    <a:pt x="169" y="338"/>
                  </a:moveTo>
                  <a:lnTo>
                    <a:pt x="232" y="338"/>
                  </a:lnTo>
                  <a:lnTo>
                    <a:pt x="232" y="465"/>
                  </a:lnTo>
                  <a:lnTo>
                    <a:pt x="169" y="465"/>
                  </a:lnTo>
                  <a:lnTo>
                    <a:pt x="169" y="338"/>
                  </a:lnTo>
                  <a:close/>
                  <a:moveTo>
                    <a:pt x="169" y="634"/>
                  </a:moveTo>
                  <a:lnTo>
                    <a:pt x="232" y="634"/>
                  </a:lnTo>
                  <a:lnTo>
                    <a:pt x="232" y="761"/>
                  </a:lnTo>
                  <a:lnTo>
                    <a:pt x="169" y="761"/>
                  </a:lnTo>
                  <a:lnTo>
                    <a:pt x="169" y="634"/>
                  </a:lnTo>
                  <a:close/>
                  <a:moveTo>
                    <a:pt x="169" y="1068"/>
                  </a:moveTo>
                  <a:lnTo>
                    <a:pt x="232" y="1068"/>
                  </a:lnTo>
                  <a:lnTo>
                    <a:pt x="232" y="1173"/>
                  </a:lnTo>
                  <a:lnTo>
                    <a:pt x="169" y="1173"/>
                  </a:lnTo>
                  <a:lnTo>
                    <a:pt x="169" y="1068"/>
                  </a:lnTo>
                  <a:close/>
                  <a:moveTo>
                    <a:pt x="169" y="1353"/>
                  </a:moveTo>
                  <a:lnTo>
                    <a:pt x="232" y="1353"/>
                  </a:lnTo>
                  <a:lnTo>
                    <a:pt x="232" y="1490"/>
                  </a:lnTo>
                  <a:lnTo>
                    <a:pt x="169" y="1490"/>
                  </a:lnTo>
                  <a:lnTo>
                    <a:pt x="169" y="1353"/>
                  </a:lnTo>
                  <a:close/>
                  <a:moveTo>
                    <a:pt x="42" y="201"/>
                  </a:moveTo>
                  <a:lnTo>
                    <a:pt x="116" y="201"/>
                  </a:lnTo>
                  <a:lnTo>
                    <a:pt x="116" y="307"/>
                  </a:lnTo>
                  <a:lnTo>
                    <a:pt x="42" y="307"/>
                  </a:lnTo>
                  <a:lnTo>
                    <a:pt x="42" y="201"/>
                  </a:lnTo>
                  <a:close/>
                  <a:moveTo>
                    <a:pt x="42" y="338"/>
                  </a:moveTo>
                  <a:lnTo>
                    <a:pt x="116" y="338"/>
                  </a:lnTo>
                  <a:lnTo>
                    <a:pt x="116" y="465"/>
                  </a:lnTo>
                  <a:lnTo>
                    <a:pt x="42" y="465"/>
                  </a:lnTo>
                  <a:lnTo>
                    <a:pt x="42" y="338"/>
                  </a:lnTo>
                  <a:close/>
                  <a:moveTo>
                    <a:pt x="42" y="486"/>
                  </a:moveTo>
                  <a:lnTo>
                    <a:pt x="116" y="486"/>
                  </a:lnTo>
                  <a:lnTo>
                    <a:pt x="116" y="603"/>
                  </a:lnTo>
                  <a:lnTo>
                    <a:pt x="42" y="603"/>
                  </a:lnTo>
                  <a:lnTo>
                    <a:pt x="42" y="486"/>
                  </a:lnTo>
                  <a:close/>
                  <a:moveTo>
                    <a:pt x="42" y="634"/>
                  </a:moveTo>
                  <a:lnTo>
                    <a:pt x="116" y="634"/>
                  </a:lnTo>
                  <a:lnTo>
                    <a:pt x="116" y="761"/>
                  </a:lnTo>
                  <a:lnTo>
                    <a:pt x="42" y="761"/>
                  </a:lnTo>
                  <a:lnTo>
                    <a:pt x="42" y="634"/>
                  </a:lnTo>
                  <a:close/>
                  <a:moveTo>
                    <a:pt x="42" y="772"/>
                  </a:moveTo>
                  <a:lnTo>
                    <a:pt x="116" y="772"/>
                  </a:lnTo>
                  <a:lnTo>
                    <a:pt x="116" y="899"/>
                  </a:lnTo>
                  <a:lnTo>
                    <a:pt x="42" y="899"/>
                  </a:lnTo>
                  <a:lnTo>
                    <a:pt x="42" y="772"/>
                  </a:lnTo>
                  <a:close/>
                  <a:moveTo>
                    <a:pt x="42" y="930"/>
                  </a:moveTo>
                  <a:lnTo>
                    <a:pt x="116" y="930"/>
                  </a:lnTo>
                  <a:lnTo>
                    <a:pt x="116" y="1057"/>
                  </a:lnTo>
                  <a:lnTo>
                    <a:pt x="42" y="1057"/>
                  </a:lnTo>
                  <a:lnTo>
                    <a:pt x="42" y="930"/>
                  </a:lnTo>
                  <a:close/>
                  <a:moveTo>
                    <a:pt x="42" y="1068"/>
                  </a:moveTo>
                  <a:lnTo>
                    <a:pt x="116" y="1068"/>
                  </a:lnTo>
                  <a:lnTo>
                    <a:pt x="116" y="1173"/>
                  </a:lnTo>
                  <a:lnTo>
                    <a:pt x="42" y="1173"/>
                  </a:lnTo>
                  <a:lnTo>
                    <a:pt x="42" y="1068"/>
                  </a:lnTo>
                  <a:close/>
                  <a:moveTo>
                    <a:pt x="42" y="1353"/>
                  </a:moveTo>
                  <a:lnTo>
                    <a:pt x="116" y="1353"/>
                  </a:lnTo>
                  <a:lnTo>
                    <a:pt x="116" y="1490"/>
                  </a:lnTo>
                  <a:lnTo>
                    <a:pt x="42" y="1490"/>
                  </a:lnTo>
                  <a:lnTo>
                    <a:pt x="42" y="1353"/>
                  </a:lnTo>
                  <a:close/>
                  <a:moveTo>
                    <a:pt x="42" y="1501"/>
                  </a:moveTo>
                  <a:lnTo>
                    <a:pt x="116" y="1501"/>
                  </a:lnTo>
                  <a:lnTo>
                    <a:pt x="116" y="1628"/>
                  </a:lnTo>
                  <a:lnTo>
                    <a:pt x="42" y="1628"/>
                  </a:lnTo>
                  <a:lnTo>
                    <a:pt x="42" y="1501"/>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44" name="Freeform 13">
              <a:extLst>
                <a:ext uri="{FF2B5EF4-FFF2-40B4-BE49-F238E27FC236}">
                  <a16:creationId xmlns:a16="http://schemas.microsoft.com/office/drawing/2014/main" id="{8658B567-540E-755A-D9CC-CA9C277E84C1}"/>
                </a:ext>
              </a:extLst>
            </p:cNvPr>
            <p:cNvSpPr>
              <a:spLocks noEditPoints="1"/>
            </p:cNvSpPr>
            <p:nvPr/>
          </p:nvSpPr>
          <p:spPr bwMode="auto">
            <a:xfrm>
              <a:off x="7403830" y="2326227"/>
              <a:ext cx="461471" cy="2134638"/>
            </a:xfrm>
            <a:custGeom>
              <a:avLst/>
              <a:gdLst>
                <a:gd name="T0" fmla="*/ 539 w 539"/>
                <a:gd name="T1" fmla="*/ 3351 h 3351"/>
                <a:gd name="T2" fmla="*/ 0 w 539"/>
                <a:gd name="T3" fmla="*/ 0 h 3351"/>
                <a:gd name="T4" fmla="*/ 63 w 539"/>
                <a:gd name="T5" fmla="*/ 476 h 3351"/>
                <a:gd name="T6" fmla="*/ 486 w 539"/>
                <a:gd name="T7" fmla="*/ 539 h 3351"/>
                <a:gd name="T8" fmla="*/ 63 w 539"/>
                <a:gd name="T9" fmla="*/ 476 h 3351"/>
                <a:gd name="T10" fmla="*/ 486 w 539"/>
                <a:gd name="T11" fmla="*/ 603 h 3351"/>
                <a:gd name="T12" fmla="*/ 63 w 539"/>
                <a:gd name="T13" fmla="*/ 666 h 3351"/>
                <a:gd name="T14" fmla="*/ 63 w 539"/>
                <a:gd name="T15" fmla="*/ 730 h 3351"/>
                <a:gd name="T16" fmla="*/ 486 w 539"/>
                <a:gd name="T17" fmla="*/ 793 h 3351"/>
                <a:gd name="T18" fmla="*/ 63 w 539"/>
                <a:gd name="T19" fmla="*/ 730 h 3351"/>
                <a:gd name="T20" fmla="*/ 486 w 539"/>
                <a:gd name="T21" fmla="*/ 856 h 3351"/>
                <a:gd name="T22" fmla="*/ 63 w 539"/>
                <a:gd name="T23" fmla="*/ 920 h 3351"/>
                <a:gd name="T24" fmla="*/ 63 w 539"/>
                <a:gd name="T25" fmla="*/ 983 h 3351"/>
                <a:gd name="T26" fmla="*/ 486 w 539"/>
                <a:gd name="T27" fmla="*/ 1047 h 3351"/>
                <a:gd name="T28" fmla="*/ 63 w 539"/>
                <a:gd name="T29" fmla="*/ 983 h 3351"/>
                <a:gd name="T30" fmla="*/ 486 w 539"/>
                <a:gd name="T31" fmla="*/ 1110 h 3351"/>
                <a:gd name="T32" fmla="*/ 63 w 539"/>
                <a:gd name="T33" fmla="*/ 1174 h 3351"/>
                <a:gd name="T34" fmla="*/ 63 w 539"/>
                <a:gd name="T35" fmla="*/ 1226 h 3351"/>
                <a:gd name="T36" fmla="*/ 486 w 539"/>
                <a:gd name="T37" fmla="*/ 1290 h 3351"/>
                <a:gd name="T38" fmla="*/ 63 w 539"/>
                <a:gd name="T39" fmla="*/ 1226 h 3351"/>
                <a:gd name="T40" fmla="*/ 486 w 539"/>
                <a:gd name="T41" fmla="*/ 1353 h 3351"/>
                <a:gd name="T42" fmla="*/ 63 w 539"/>
                <a:gd name="T43" fmla="*/ 1417 h 3351"/>
                <a:gd name="T44" fmla="*/ 63 w 539"/>
                <a:gd name="T45" fmla="*/ 1607 h 3351"/>
                <a:gd name="T46" fmla="*/ 486 w 539"/>
                <a:gd name="T47" fmla="*/ 1670 h 3351"/>
                <a:gd name="T48" fmla="*/ 63 w 539"/>
                <a:gd name="T49" fmla="*/ 1607 h 3351"/>
                <a:gd name="T50" fmla="*/ 486 w 539"/>
                <a:gd name="T51" fmla="*/ 1734 h 3351"/>
                <a:gd name="T52" fmla="*/ 63 w 539"/>
                <a:gd name="T53" fmla="*/ 1797 h 3351"/>
                <a:gd name="T54" fmla="*/ 63 w 539"/>
                <a:gd name="T55" fmla="*/ 1860 h 3351"/>
                <a:gd name="T56" fmla="*/ 486 w 539"/>
                <a:gd name="T57" fmla="*/ 1924 h 3351"/>
                <a:gd name="T58" fmla="*/ 63 w 539"/>
                <a:gd name="T59" fmla="*/ 1860 h 3351"/>
                <a:gd name="T60" fmla="*/ 486 w 539"/>
                <a:gd name="T61" fmla="*/ 1987 h 3351"/>
                <a:gd name="T62" fmla="*/ 63 w 539"/>
                <a:gd name="T63" fmla="*/ 2051 h 3351"/>
                <a:gd name="T64" fmla="*/ 63 w 539"/>
                <a:gd name="T65" fmla="*/ 2114 h 3351"/>
                <a:gd name="T66" fmla="*/ 486 w 539"/>
                <a:gd name="T67" fmla="*/ 2178 h 3351"/>
                <a:gd name="T68" fmla="*/ 63 w 539"/>
                <a:gd name="T69" fmla="*/ 2114 h 3351"/>
                <a:gd name="T70" fmla="*/ 486 w 539"/>
                <a:gd name="T71" fmla="*/ 2241 h 3351"/>
                <a:gd name="T72" fmla="*/ 63 w 539"/>
                <a:gd name="T73" fmla="*/ 2304 h 3351"/>
                <a:gd name="T74" fmla="*/ 63 w 539"/>
                <a:gd name="T75" fmla="*/ 2357 h 3351"/>
                <a:gd name="T76" fmla="*/ 486 w 539"/>
                <a:gd name="T77" fmla="*/ 2421 h 3351"/>
                <a:gd name="T78" fmla="*/ 63 w 539"/>
                <a:gd name="T79" fmla="*/ 2357 h 3351"/>
                <a:gd name="T80" fmla="*/ 486 w 539"/>
                <a:gd name="T81" fmla="*/ 2484 h 3351"/>
                <a:gd name="T82" fmla="*/ 63 w 539"/>
                <a:gd name="T83" fmla="*/ 2547 h 3351"/>
                <a:gd name="T84" fmla="*/ 63 w 539"/>
                <a:gd name="T85" fmla="*/ 2738 h 3351"/>
                <a:gd name="T86" fmla="*/ 486 w 539"/>
                <a:gd name="T87" fmla="*/ 2801 h 3351"/>
                <a:gd name="T88" fmla="*/ 63 w 539"/>
                <a:gd name="T89" fmla="*/ 2738 h 3351"/>
                <a:gd name="T90" fmla="*/ 486 w 539"/>
                <a:gd name="T91" fmla="*/ 2865 h 3351"/>
                <a:gd name="T92" fmla="*/ 63 w 539"/>
                <a:gd name="T93" fmla="*/ 2928 h 3351"/>
                <a:gd name="T94" fmla="*/ 63 w 539"/>
                <a:gd name="T95" fmla="*/ 2991 h 3351"/>
                <a:gd name="T96" fmla="*/ 486 w 539"/>
                <a:gd name="T97" fmla="*/ 3055 h 3351"/>
                <a:gd name="T98" fmla="*/ 63 w 539"/>
                <a:gd name="T99" fmla="*/ 2991 h 3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9" h="3351">
                  <a:moveTo>
                    <a:pt x="0" y="3351"/>
                  </a:moveTo>
                  <a:lnTo>
                    <a:pt x="539" y="3351"/>
                  </a:lnTo>
                  <a:lnTo>
                    <a:pt x="539" y="286"/>
                  </a:lnTo>
                  <a:lnTo>
                    <a:pt x="0" y="0"/>
                  </a:lnTo>
                  <a:lnTo>
                    <a:pt x="0" y="3351"/>
                  </a:lnTo>
                  <a:close/>
                  <a:moveTo>
                    <a:pt x="63" y="476"/>
                  </a:moveTo>
                  <a:lnTo>
                    <a:pt x="486" y="476"/>
                  </a:lnTo>
                  <a:lnTo>
                    <a:pt x="486" y="539"/>
                  </a:lnTo>
                  <a:lnTo>
                    <a:pt x="63" y="539"/>
                  </a:lnTo>
                  <a:lnTo>
                    <a:pt x="63" y="476"/>
                  </a:lnTo>
                  <a:close/>
                  <a:moveTo>
                    <a:pt x="63" y="603"/>
                  </a:moveTo>
                  <a:lnTo>
                    <a:pt x="486" y="603"/>
                  </a:lnTo>
                  <a:lnTo>
                    <a:pt x="486" y="666"/>
                  </a:lnTo>
                  <a:lnTo>
                    <a:pt x="63" y="666"/>
                  </a:lnTo>
                  <a:lnTo>
                    <a:pt x="63" y="603"/>
                  </a:lnTo>
                  <a:close/>
                  <a:moveTo>
                    <a:pt x="63" y="730"/>
                  </a:moveTo>
                  <a:lnTo>
                    <a:pt x="486" y="730"/>
                  </a:lnTo>
                  <a:lnTo>
                    <a:pt x="486" y="793"/>
                  </a:lnTo>
                  <a:lnTo>
                    <a:pt x="63" y="793"/>
                  </a:lnTo>
                  <a:lnTo>
                    <a:pt x="63" y="730"/>
                  </a:lnTo>
                  <a:close/>
                  <a:moveTo>
                    <a:pt x="63" y="856"/>
                  </a:moveTo>
                  <a:lnTo>
                    <a:pt x="486" y="856"/>
                  </a:lnTo>
                  <a:lnTo>
                    <a:pt x="486" y="920"/>
                  </a:lnTo>
                  <a:lnTo>
                    <a:pt x="63" y="920"/>
                  </a:lnTo>
                  <a:lnTo>
                    <a:pt x="63" y="856"/>
                  </a:lnTo>
                  <a:close/>
                  <a:moveTo>
                    <a:pt x="63" y="983"/>
                  </a:moveTo>
                  <a:lnTo>
                    <a:pt x="486" y="983"/>
                  </a:lnTo>
                  <a:lnTo>
                    <a:pt x="486" y="1047"/>
                  </a:lnTo>
                  <a:lnTo>
                    <a:pt x="63" y="1047"/>
                  </a:lnTo>
                  <a:lnTo>
                    <a:pt x="63" y="983"/>
                  </a:lnTo>
                  <a:close/>
                  <a:moveTo>
                    <a:pt x="63" y="1110"/>
                  </a:moveTo>
                  <a:lnTo>
                    <a:pt x="486" y="1110"/>
                  </a:lnTo>
                  <a:lnTo>
                    <a:pt x="486" y="1174"/>
                  </a:lnTo>
                  <a:lnTo>
                    <a:pt x="63" y="1174"/>
                  </a:lnTo>
                  <a:lnTo>
                    <a:pt x="63" y="1110"/>
                  </a:lnTo>
                  <a:close/>
                  <a:moveTo>
                    <a:pt x="63" y="1226"/>
                  </a:moveTo>
                  <a:lnTo>
                    <a:pt x="486" y="1226"/>
                  </a:lnTo>
                  <a:lnTo>
                    <a:pt x="486" y="1290"/>
                  </a:lnTo>
                  <a:lnTo>
                    <a:pt x="63" y="1290"/>
                  </a:lnTo>
                  <a:lnTo>
                    <a:pt x="63" y="1226"/>
                  </a:lnTo>
                  <a:close/>
                  <a:moveTo>
                    <a:pt x="63" y="1353"/>
                  </a:moveTo>
                  <a:lnTo>
                    <a:pt x="486" y="1353"/>
                  </a:lnTo>
                  <a:lnTo>
                    <a:pt x="486" y="1417"/>
                  </a:lnTo>
                  <a:lnTo>
                    <a:pt x="63" y="1417"/>
                  </a:lnTo>
                  <a:lnTo>
                    <a:pt x="63" y="1353"/>
                  </a:lnTo>
                  <a:close/>
                  <a:moveTo>
                    <a:pt x="63" y="1607"/>
                  </a:moveTo>
                  <a:lnTo>
                    <a:pt x="486" y="1607"/>
                  </a:lnTo>
                  <a:lnTo>
                    <a:pt x="486" y="1670"/>
                  </a:lnTo>
                  <a:lnTo>
                    <a:pt x="63" y="1670"/>
                  </a:lnTo>
                  <a:lnTo>
                    <a:pt x="63" y="1607"/>
                  </a:lnTo>
                  <a:close/>
                  <a:moveTo>
                    <a:pt x="63" y="1734"/>
                  </a:moveTo>
                  <a:lnTo>
                    <a:pt x="486" y="1734"/>
                  </a:lnTo>
                  <a:lnTo>
                    <a:pt x="486" y="1797"/>
                  </a:lnTo>
                  <a:lnTo>
                    <a:pt x="63" y="1797"/>
                  </a:lnTo>
                  <a:lnTo>
                    <a:pt x="63" y="1734"/>
                  </a:lnTo>
                  <a:close/>
                  <a:moveTo>
                    <a:pt x="63" y="1860"/>
                  </a:moveTo>
                  <a:lnTo>
                    <a:pt x="486" y="1860"/>
                  </a:lnTo>
                  <a:lnTo>
                    <a:pt x="486" y="1924"/>
                  </a:lnTo>
                  <a:lnTo>
                    <a:pt x="63" y="1924"/>
                  </a:lnTo>
                  <a:lnTo>
                    <a:pt x="63" y="1860"/>
                  </a:lnTo>
                  <a:close/>
                  <a:moveTo>
                    <a:pt x="63" y="1987"/>
                  </a:moveTo>
                  <a:lnTo>
                    <a:pt x="486" y="1987"/>
                  </a:lnTo>
                  <a:lnTo>
                    <a:pt x="486" y="2051"/>
                  </a:lnTo>
                  <a:lnTo>
                    <a:pt x="63" y="2051"/>
                  </a:lnTo>
                  <a:lnTo>
                    <a:pt x="63" y="1987"/>
                  </a:lnTo>
                  <a:close/>
                  <a:moveTo>
                    <a:pt x="63" y="2114"/>
                  </a:moveTo>
                  <a:lnTo>
                    <a:pt x="486" y="2114"/>
                  </a:lnTo>
                  <a:lnTo>
                    <a:pt x="486" y="2178"/>
                  </a:lnTo>
                  <a:lnTo>
                    <a:pt x="63" y="2178"/>
                  </a:lnTo>
                  <a:lnTo>
                    <a:pt x="63" y="2114"/>
                  </a:lnTo>
                  <a:close/>
                  <a:moveTo>
                    <a:pt x="63" y="2241"/>
                  </a:moveTo>
                  <a:lnTo>
                    <a:pt x="486" y="2241"/>
                  </a:lnTo>
                  <a:lnTo>
                    <a:pt x="486" y="2304"/>
                  </a:lnTo>
                  <a:lnTo>
                    <a:pt x="63" y="2304"/>
                  </a:lnTo>
                  <a:lnTo>
                    <a:pt x="63" y="2241"/>
                  </a:lnTo>
                  <a:close/>
                  <a:moveTo>
                    <a:pt x="63" y="2357"/>
                  </a:moveTo>
                  <a:lnTo>
                    <a:pt x="486" y="2357"/>
                  </a:lnTo>
                  <a:lnTo>
                    <a:pt x="486" y="2421"/>
                  </a:lnTo>
                  <a:lnTo>
                    <a:pt x="63" y="2421"/>
                  </a:lnTo>
                  <a:lnTo>
                    <a:pt x="63" y="2357"/>
                  </a:lnTo>
                  <a:close/>
                  <a:moveTo>
                    <a:pt x="63" y="2484"/>
                  </a:moveTo>
                  <a:lnTo>
                    <a:pt x="486" y="2484"/>
                  </a:lnTo>
                  <a:lnTo>
                    <a:pt x="486" y="2547"/>
                  </a:lnTo>
                  <a:lnTo>
                    <a:pt x="63" y="2547"/>
                  </a:lnTo>
                  <a:lnTo>
                    <a:pt x="63" y="2484"/>
                  </a:lnTo>
                  <a:close/>
                  <a:moveTo>
                    <a:pt x="63" y="2738"/>
                  </a:moveTo>
                  <a:lnTo>
                    <a:pt x="486" y="2738"/>
                  </a:lnTo>
                  <a:lnTo>
                    <a:pt x="486" y="2801"/>
                  </a:lnTo>
                  <a:lnTo>
                    <a:pt x="63" y="2801"/>
                  </a:lnTo>
                  <a:lnTo>
                    <a:pt x="63" y="2738"/>
                  </a:lnTo>
                  <a:close/>
                  <a:moveTo>
                    <a:pt x="63" y="2865"/>
                  </a:moveTo>
                  <a:lnTo>
                    <a:pt x="486" y="2865"/>
                  </a:lnTo>
                  <a:lnTo>
                    <a:pt x="486" y="2928"/>
                  </a:lnTo>
                  <a:lnTo>
                    <a:pt x="63" y="2928"/>
                  </a:lnTo>
                  <a:lnTo>
                    <a:pt x="63" y="2865"/>
                  </a:lnTo>
                  <a:close/>
                  <a:moveTo>
                    <a:pt x="63" y="2991"/>
                  </a:moveTo>
                  <a:lnTo>
                    <a:pt x="486" y="2991"/>
                  </a:lnTo>
                  <a:lnTo>
                    <a:pt x="486" y="3055"/>
                  </a:lnTo>
                  <a:lnTo>
                    <a:pt x="63" y="3055"/>
                  </a:lnTo>
                  <a:lnTo>
                    <a:pt x="63" y="2991"/>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45" name="Freeform 14">
              <a:extLst>
                <a:ext uri="{FF2B5EF4-FFF2-40B4-BE49-F238E27FC236}">
                  <a16:creationId xmlns:a16="http://schemas.microsoft.com/office/drawing/2014/main" id="{AF6C6C13-4C0F-AAA9-FA57-BA10EB3F84EF}"/>
                </a:ext>
              </a:extLst>
            </p:cNvPr>
            <p:cNvSpPr>
              <a:spLocks noEditPoints="1"/>
            </p:cNvSpPr>
            <p:nvPr/>
          </p:nvSpPr>
          <p:spPr bwMode="auto">
            <a:xfrm>
              <a:off x="8598176" y="3754415"/>
              <a:ext cx="479450" cy="706450"/>
            </a:xfrm>
            <a:custGeom>
              <a:avLst/>
              <a:gdLst>
                <a:gd name="T0" fmla="*/ 0 w 560"/>
                <a:gd name="T1" fmla="*/ 1109 h 1109"/>
                <a:gd name="T2" fmla="*/ 560 w 560"/>
                <a:gd name="T3" fmla="*/ 0 h 1109"/>
                <a:gd name="T4" fmla="*/ 243 w 560"/>
                <a:gd name="T5" fmla="*/ 866 h 1109"/>
                <a:gd name="T6" fmla="*/ 63 w 560"/>
                <a:gd name="T7" fmla="*/ 813 h 1109"/>
                <a:gd name="T8" fmla="*/ 243 w 560"/>
                <a:gd name="T9" fmla="*/ 866 h 1109"/>
                <a:gd name="T10" fmla="*/ 63 w 560"/>
                <a:gd name="T11" fmla="*/ 739 h 1109"/>
                <a:gd name="T12" fmla="*/ 243 w 560"/>
                <a:gd name="T13" fmla="*/ 697 h 1109"/>
                <a:gd name="T14" fmla="*/ 243 w 560"/>
                <a:gd name="T15" fmla="*/ 613 h 1109"/>
                <a:gd name="T16" fmla="*/ 63 w 560"/>
                <a:gd name="T17" fmla="*/ 570 h 1109"/>
                <a:gd name="T18" fmla="*/ 243 w 560"/>
                <a:gd name="T19" fmla="*/ 613 h 1109"/>
                <a:gd name="T20" fmla="*/ 63 w 560"/>
                <a:gd name="T21" fmla="*/ 496 h 1109"/>
                <a:gd name="T22" fmla="*/ 243 w 560"/>
                <a:gd name="T23" fmla="*/ 443 h 1109"/>
                <a:gd name="T24" fmla="*/ 243 w 560"/>
                <a:gd name="T25" fmla="*/ 369 h 1109"/>
                <a:gd name="T26" fmla="*/ 63 w 560"/>
                <a:gd name="T27" fmla="*/ 317 h 1109"/>
                <a:gd name="T28" fmla="*/ 243 w 560"/>
                <a:gd name="T29" fmla="*/ 369 h 1109"/>
                <a:gd name="T30" fmla="*/ 63 w 560"/>
                <a:gd name="T31" fmla="*/ 243 h 1109"/>
                <a:gd name="T32" fmla="*/ 243 w 560"/>
                <a:gd name="T33" fmla="*/ 200 h 1109"/>
                <a:gd name="T34" fmla="*/ 243 w 560"/>
                <a:gd name="T35" fmla="*/ 116 h 1109"/>
                <a:gd name="T36" fmla="*/ 63 w 560"/>
                <a:gd name="T37" fmla="*/ 74 h 1109"/>
                <a:gd name="T38" fmla="*/ 243 w 560"/>
                <a:gd name="T39" fmla="*/ 116 h 1109"/>
                <a:gd name="T40" fmla="*/ 317 w 560"/>
                <a:gd name="T41" fmla="*/ 866 h 1109"/>
                <a:gd name="T42" fmla="*/ 497 w 560"/>
                <a:gd name="T43" fmla="*/ 813 h 1109"/>
                <a:gd name="T44" fmla="*/ 497 w 560"/>
                <a:gd name="T45" fmla="*/ 739 h 1109"/>
                <a:gd name="T46" fmla="*/ 317 w 560"/>
                <a:gd name="T47" fmla="*/ 697 h 1109"/>
                <a:gd name="T48" fmla="*/ 497 w 560"/>
                <a:gd name="T49" fmla="*/ 739 h 1109"/>
                <a:gd name="T50" fmla="*/ 317 w 560"/>
                <a:gd name="T51" fmla="*/ 613 h 1109"/>
                <a:gd name="T52" fmla="*/ 497 w 560"/>
                <a:gd name="T53" fmla="*/ 570 h 1109"/>
                <a:gd name="T54" fmla="*/ 497 w 560"/>
                <a:gd name="T55" fmla="*/ 496 h 1109"/>
                <a:gd name="T56" fmla="*/ 317 w 560"/>
                <a:gd name="T57" fmla="*/ 443 h 1109"/>
                <a:gd name="T58" fmla="*/ 497 w 560"/>
                <a:gd name="T59" fmla="*/ 496 h 1109"/>
                <a:gd name="T60" fmla="*/ 317 w 560"/>
                <a:gd name="T61" fmla="*/ 369 h 1109"/>
                <a:gd name="T62" fmla="*/ 497 w 560"/>
                <a:gd name="T63" fmla="*/ 317 h 1109"/>
                <a:gd name="T64" fmla="*/ 497 w 560"/>
                <a:gd name="T65" fmla="*/ 243 h 1109"/>
                <a:gd name="T66" fmla="*/ 317 w 560"/>
                <a:gd name="T67" fmla="*/ 200 h 1109"/>
                <a:gd name="T68" fmla="*/ 497 w 560"/>
                <a:gd name="T69" fmla="*/ 243 h 1109"/>
                <a:gd name="T70" fmla="*/ 317 w 560"/>
                <a:gd name="T71" fmla="*/ 116 h 1109"/>
                <a:gd name="T72" fmla="*/ 497 w 560"/>
                <a:gd name="T73" fmla="*/ 74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0" h="1109">
                  <a:moveTo>
                    <a:pt x="0" y="0"/>
                  </a:moveTo>
                  <a:lnTo>
                    <a:pt x="0" y="1109"/>
                  </a:lnTo>
                  <a:lnTo>
                    <a:pt x="560" y="1109"/>
                  </a:lnTo>
                  <a:lnTo>
                    <a:pt x="560" y="0"/>
                  </a:lnTo>
                  <a:lnTo>
                    <a:pt x="0" y="0"/>
                  </a:lnTo>
                  <a:close/>
                  <a:moveTo>
                    <a:pt x="243" y="866"/>
                  </a:moveTo>
                  <a:lnTo>
                    <a:pt x="63" y="866"/>
                  </a:lnTo>
                  <a:lnTo>
                    <a:pt x="63" y="813"/>
                  </a:lnTo>
                  <a:lnTo>
                    <a:pt x="243" y="813"/>
                  </a:lnTo>
                  <a:lnTo>
                    <a:pt x="243" y="866"/>
                  </a:lnTo>
                  <a:close/>
                  <a:moveTo>
                    <a:pt x="243" y="739"/>
                  </a:moveTo>
                  <a:lnTo>
                    <a:pt x="63" y="739"/>
                  </a:lnTo>
                  <a:lnTo>
                    <a:pt x="63" y="697"/>
                  </a:lnTo>
                  <a:lnTo>
                    <a:pt x="243" y="697"/>
                  </a:lnTo>
                  <a:lnTo>
                    <a:pt x="243" y="739"/>
                  </a:lnTo>
                  <a:close/>
                  <a:moveTo>
                    <a:pt x="243" y="613"/>
                  </a:moveTo>
                  <a:lnTo>
                    <a:pt x="63" y="613"/>
                  </a:lnTo>
                  <a:lnTo>
                    <a:pt x="63" y="570"/>
                  </a:lnTo>
                  <a:lnTo>
                    <a:pt x="243" y="570"/>
                  </a:lnTo>
                  <a:lnTo>
                    <a:pt x="243" y="613"/>
                  </a:lnTo>
                  <a:close/>
                  <a:moveTo>
                    <a:pt x="243" y="496"/>
                  </a:moveTo>
                  <a:lnTo>
                    <a:pt x="63" y="496"/>
                  </a:lnTo>
                  <a:lnTo>
                    <a:pt x="63" y="443"/>
                  </a:lnTo>
                  <a:lnTo>
                    <a:pt x="243" y="443"/>
                  </a:lnTo>
                  <a:lnTo>
                    <a:pt x="243" y="496"/>
                  </a:lnTo>
                  <a:close/>
                  <a:moveTo>
                    <a:pt x="243" y="369"/>
                  </a:moveTo>
                  <a:lnTo>
                    <a:pt x="63" y="369"/>
                  </a:lnTo>
                  <a:lnTo>
                    <a:pt x="63" y="317"/>
                  </a:lnTo>
                  <a:lnTo>
                    <a:pt x="243" y="317"/>
                  </a:lnTo>
                  <a:lnTo>
                    <a:pt x="243" y="369"/>
                  </a:lnTo>
                  <a:close/>
                  <a:moveTo>
                    <a:pt x="243" y="243"/>
                  </a:moveTo>
                  <a:lnTo>
                    <a:pt x="63" y="243"/>
                  </a:lnTo>
                  <a:lnTo>
                    <a:pt x="63" y="200"/>
                  </a:lnTo>
                  <a:lnTo>
                    <a:pt x="243" y="200"/>
                  </a:lnTo>
                  <a:lnTo>
                    <a:pt x="243" y="243"/>
                  </a:lnTo>
                  <a:close/>
                  <a:moveTo>
                    <a:pt x="243" y="116"/>
                  </a:moveTo>
                  <a:lnTo>
                    <a:pt x="63" y="116"/>
                  </a:lnTo>
                  <a:lnTo>
                    <a:pt x="63" y="74"/>
                  </a:lnTo>
                  <a:lnTo>
                    <a:pt x="243" y="74"/>
                  </a:lnTo>
                  <a:lnTo>
                    <a:pt x="243" y="116"/>
                  </a:lnTo>
                  <a:close/>
                  <a:moveTo>
                    <a:pt x="497" y="866"/>
                  </a:moveTo>
                  <a:lnTo>
                    <a:pt x="317" y="866"/>
                  </a:lnTo>
                  <a:lnTo>
                    <a:pt x="317" y="813"/>
                  </a:lnTo>
                  <a:lnTo>
                    <a:pt x="497" y="813"/>
                  </a:lnTo>
                  <a:lnTo>
                    <a:pt x="497" y="866"/>
                  </a:lnTo>
                  <a:close/>
                  <a:moveTo>
                    <a:pt x="497" y="739"/>
                  </a:moveTo>
                  <a:lnTo>
                    <a:pt x="317" y="739"/>
                  </a:lnTo>
                  <a:lnTo>
                    <a:pt x="317" y="697"/>
                  </a:lnTo>
                  <a:lnTo>
                    <a:pt x="497" y="697"/>
                  </a:lnTo>
                  <a:lnTo>
                    <a:pt x="497" y="739"/>
                  </a:lnTo>
                  <a:close/>
                  <a:moveTo>
                    <a:pt x="497" y="613"/>
                  </a:moveTo>
                  <a:lnTo>
                    <a:pt x="317" y="613"/>
                  </a:lnTo>
                  <a:lnTo>
                    <a:pt x="317" y="570"/>
                  </a:lnTo>
                  <a:lnTo>
                    <a:pt x="497" y="570"/>
                  </a:lnTo>
                  <a:lnTo>
                    <a:pt x="497" y="613"/>
                  </a:lnTo>
                  <a:close/>
                  <a:moveTo>
                    <a:pt x="497" y="496"/>
                  </a:moveTo>
                  <a:lnTo>
                    <a:pt x="317" y="496"/>
                  </a:lnTo>
                  <a:lnTo>
                    <a:pt x="317" y="443"/>
                  </a:lnTo>
                  <a:lnTo>
                    <a:pt x="497" y="443"/>
                  </a:lnTo>
                  <a:lnTo>
                    <a:pt x="497" y="496"/>
                  </a:lnTo>
                  <a:close/>
                  <a:moveTo>
                    <a:pt x="497" y="369"/>
                  </a:moveTo>
                  <a:lnTo>
                    <a:pt x="317" y="369"/>
                  </a:lnTo>
                  <a:lnTo>
                    <a:pt x="317" y="317"/>
                  </a:lnTo>
                  <a:lnTo>
                    <a:pt x="497" y="317"/>
                  </a:lnTo>
                  <a:lnTo>
                    <a:pt x="497" y="369"/>
                  </a:lnTo>
                  <a:close/>
                  <a:moveTo>
                    <a:pt x="497" y="243"/>
                  </a:moveTo>
                  <a:lnTo>
                    <a:pt x="317" y="243"/>
                  </a:lnTo>
                  <a:lnTo>
                    <a:pt x="317" y="200"/>
                  </a:lnTo>
                  <a:lnTo>
                    <a:pt x="497" y="200"/>
                  </a:lnTo>
                  <a:lnTo>
                    <a:pt x="497" y="243"/>
                  </a:lnTo>
                  <a:close/>
                  <a:moveTo>
                    <a:pt x="497" y="116"/>
                  </a:moveTo>
                  <a:lnTo>
                    <a:pt x="317" y="116"/>
                  </a:lnTo>
                  <a:lnTo>
                    <a:pt x="317" y="74"/>
                  </a:lnTo>
                  <a:lnTo>
                    <a:pt x="497" y="74"/>
                  </a:lnTo>
                  <a:lnTo>
                    <a:pt x="497" y="116"/>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46" name="Freeform 15">
              <a:extLst>
                <a:ext uri="{FF2B5EF4-FFF2-40B4-BE49-F238E27FC236}">
                  <a16:creationId xmlns:a16="http://schemas.microsoft.com/office/drawing/2014/main" id="{3A0BCC24-DA7D-A9E3-9A95-315F0A8404E4}"/>
                </a:ext>
              </a:extLst>
            </p:cNvPr>
            <p:cNvSpPr>
              <a:spLocks noEditPoints="1"/>
            </p:cNvSpPr>
            <p:nvPr/>
          </p:nvSpPr>
          <p:spPr bwMode="auto">
            <a:xfrm>
              <a:off x="2951792" y="3754415"/>
              <a:ext cx="479450" cy="706450"/>
            </a:xfrm>
            <a:custGeom>
              <a:avLst/>
              <a:gdLst>
                <a:gd name="T0" fmla="*/ 560 w 560"/>
                <a:gd name="T1" fmla="*/ 1109 h 1109"/>
                <a:gd name="T2" fmla="*/ 0 w 560"/>
                <a:gd name="T3" fmla="*/ 0 h 1109"/>
                <a:gd name="T4" fmla="*/ 370 w 560"/>
                <a:gd name="T5" fmla="*/ 74 h 1109"/>
                <a:gd name="T6" fmla="*/ 476 w 560"/>
                <a:gd name="T7" fmla="*/ 116 h 1109"/>
                <a:gd name="T8" fmla="*/ 370 w 560"/>
                <a:gd name="T9" fmla="*/ 74 h 1109"/>
                <a:gd name="T10" fmla="*/ 476 w 560"/>
                <a:gd name="T11" fmla="*/ 200 h 1109"/>
                <a:gd name="T12" fmla="*/ 370 w 560"/>
                <a:gd name="T13" fmla="*/ 243 h 1109"/>
                <a:gd name="T14" fmla="*/ 370 w 560"/>
                <a:gd name="T15" fmla="*/ 443 h 1109"/>
                <a:gd name="T16" fmla="*/ 476 w 560"/>
                <a:gd name="T17" fmla="*/ 496 h 1109"/>
                <a:gd name="T18" fmla="*/ 370 w 560"/>
                <a:gd name="T19" fmla="*/ 443 h 1109"/>
                <a:gd name="T20" fmla="*/ 476 w 560"/>
                <a:gd name="T21" fmla="*/ 570 h 1109"/>
                <a:gd name="T22" fmla="*/ 370 w 560"/>
                <a:gd name="T23" fmla="*/ 613 h 1109"/>
                <a:gd name="T24" fmla="*/ 370 w 560"/>
                <a:gd name="T25" fmla="*/ 697 h 1109"/>
                <a:gd name="T26" fmla="*/ 476 w 560"/>
                <a:gd name="T27" fmla="*/ 739 h 1109"/>
                <a:gd name="T28" fmla="*/ 370 w 560"/>
                <a:gd name="T29" fmla="*/ 697 h 1109"/>
                <a:gd name="T30" fmla="*/ 328 w 560"/>
                <a:gd name="T31" fmla="*/ 74 h 1109"/>
                <a:gd name="T32" fmla="*/ 222 w 560"/>
                <a:gd name="T33" fmla="*/ 116 h 1109"/>
                <a:gd name="T34" fmla="*/ 222 w 560"/>
                <a:gd name="T35" fmla="*/ 200 h 1109"/>
                <a:gd name="T36" fmla="*/ 328 w 560"/>
                <a:gd name="T37" fmla="*/ 243 h 1109"/>
                <a:gd name="T38" fmla="*/ 222 w 560"/>
                <a:gd name="T39" fmla="*/ 200 h 1109"/>
                <a:gd name="T40" fmla="*/ 328 w 560"/>
                <a:gd name="T41" fmla="*/ 317 h 1109"/>
                <a:gd name="T42" fmla="*/ 222 w 560"/>
                <a:gd name="T43" fmla="*/ 369 h 1109"/>
                <a:gd name="T44" fmla="*/ 222 w 560"/>
                <a:gd name="T45" fmla="*/ 443 h 1109"/>
                <a:gd name="T46" fmla="*/ 328 w 560"/>
                <a:gd name="T47" fmla="*/ 496 h 1109"/>
                <a:gd name="T48" fmla="*/ 222 w 560"/>
                <a:gd name="T49" fmla="*/ 443 h 1109"/>
                <a:gd name="T50" fmla="*/ 328 w 560"/>
                <a:gd name="T51" fmla="*/ 570 h 1109"/>
                <a:gd name="T52" fmla="*/ 222 w 560"/>
                <a:gd name="T53" fmla="*/ 613 h 1109"/>
                <a:gd name="T54" fmla="*/ 222 w 560"/>
                <a:gd name="T55" fmla="*/ 697 h 1109"/>
                <a:gd name="T56" fmla="*/ 328 w 560"/>
                <a:gd name="T57" fmla="*/ 739 h 1109"/>
                <a:gd name="T58" fmla="*/ 222 w 560"/>
                <a:gd name="T59" fmla="*/ 697 h 1109"/>
                <a:gd name="T60" fmla="*/ 328 w 560"/>
                <a:gd name="T61" fmla="*/ 813 h 1109"/>
                <a:gd name="T62" fmla="*/ 222 w 560"/>
                <a:gd name="T63" fmla="*/ 866 h 1109"/>
                <a:gd name="T64" fmla="*/ 74 w 560"/>
                <a:gd name="T65" fmla="*/ 74 h 1109"/>
                <a:gd name="T66" fmla="*/ 180 w 560"/>
                <a:gd name="T67" fmla="*/ 116 h 1109"/>
                <a:gd name="T68" fmla="*/ 74 w 560"/>
                <a:gd name="T69" fmla="*/ 74 h 1109"/>
                <a:gd name="T70" fmla="*/ 180 w 560"/>
                <a:gd name="T71" fmla="*/ 317 h 1109"/>
                <a:gd name="T72" fmla="*/ 74 w 560"/>
                <a:gd name="T73" fmla="*/ 369 h 1109"/>
                <a:gd name="T74" fmla="*/ 74 w 560"/>
                <a:gd name="T75" fmla="*/ 443 h 1109"/>
                <a:gd name="T76" fmla="*/ 180 w 560"/>
                <a:gd name="T77" fmla="*/ 496 h 1109"/>
                <a:gd name="T78" fmla="*/ 74 w 560"/>
                <a:gd name="T79" fmla="*/ 443 h 1109"/>
                <a:gd name="T80" fmla="*/ 180 w 560"/>
                <a:gd name="T81" fmla="*/ 697 h 1109"/>
                <a:gd name="T82" fmla="*/ 74 w 560"/>
                <a:gd name="T83" fmla="*/ 739 h 1109"/>
                <a:gd name="T84" fmla="*/ 74 w 560"/>
                <a:gd name="T85" fmla="*/ 813 h 1109"/>
                <a:gd name="T86" fmla="*/ 180 w 560"/>
                <a:gd name="T87" fmla="*/ 866 h 1109"/>
                <a:gd name="T88" fmla="*/ 74 w 560"/>
                <a:gd name="T89" fmla="*/ 813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1109">
                  <a:moveTo>
                    <a:pt x="0" y="1109"/>
                  </a:moveTo>
                  <a:lnTo>
                    <a:pt x="560" y="1109"/>
                  </a:lnTo>
                  <a:lnTo>
                    <a:pt x="560" y="0"/>
                  </a:lnTo>
                  <a:lnTo>
                    <a:pt x="0" y="0"/>
                  </a:lnTo>
                  <a:lnTo>
                    <a:pt x="0" y="1109"/>
                  </a:lnTo>
                  <a:close/>
                  <a:moveTo>
                    <a:pt x="370" y="74"/>
                  </a:moveTo>
                  <a:lnTo>
                    <a:pt x="476" y="74"/>
                  </a:lnTo>
                  <a:lnTo>
                    <a:pt x="476" y="116"/>
                  </a:lnTo>
                  <a:lnTo>
                    <a:pt x="370" y="116"/>
                  </a:lnTo>
                  <a:lnTo>
                    <a:pt x="370" y="74"/>
                  </a:lnTo>
                  <a:close/>
                  <a:moveTo>
                    <a:pt x="370" y="200"/>
                  </a:moveTo>
                  <a:lnTo>
                    <a:pt x="476" y="200"/>
                  </a:lnTo>
                  <a:lnTo>
                    <a:pt x="476" y="243"/>
                  </a:lnTo>
                  <a:lnTo>
                    <a:pt x="370" y="243"/>
                  </a:lnTo>
                  <a:lnTo>
                    <a:pt x="370" y="200"/>
                  </a:lnTo>
                  <a:close/>
                  <a:moveTo>
                    <a:pt x="370" y="443"/>
                  </a:moveTo>
                  <a:lnTo>
                    <a:pt x="476" y="443"/>
                  </a:lnTo>
                  <a:lnTo>
                    <a:pt x="476" y="496"/>
                  </a:lnTo>
                  <a:lnTo>
                    <a:pt x="370" y="496"/>
                  </a:lnTo>
                  <a:lnTo>
                    <a:pt x="370" y="443"/>
                  </a:lnTo>
                  <a:close/>
                  <a:moveTo>
                    <a:pt x="370" y="570"/>
                  </a:moveTo>
                  <a:lnTo>
                    <a:pt x="476" y="570"/>
                  </a:lnTo>
                  <a:lnTo>
                    <a:pt x="476" y="613"/>
                  </a:lnTo>
                  <a:lnTo>
                    <a:pt x="370" y="613"/>
                  </a:lnTo>
                  <a:lnTo>
                    <a:pt x="370" y="570"/>
                  </a:lnTo>
                  <a:close/>
                  <a:moveTo>
                    <a:pt x="370" y="697"/>
                  </a:moveTo>
                  <a:lnTo>
                    <a:pt x="476" y="697"/>
                  </a:lnTo>
                  <a:lnTo>
                    <a:pt x="476" y="739"/>
                  </a:lnTo>
                  <a:lnTo>
                    <a:pt x="370" y="739"/>
                  </a:lnTo>
                  <a:lnTo>
                    <a:pt x="370" y="697"/>
                  </a:lnTo>
                  <a:close/>
                  <a:moveTo>
                    <a:pt x="222" y="74"/>
                  </a:moveTo>
                  <a:lnTo>
                    <a:pt x="328" y="74"/>
                  </a:lnTo>
                  <a:lnTo>
                    <a:pt x="328" y="116"/>
                  </a:lnTo>
                  <a:lnTo>
                    <a:pt x="222" y="116"/>
                  </a:lnTo>
                  <a:lnTo>
                    <a:pt x="222" y="74"/>
                  </a:lnTo>
                  <a:close/>
                  <a:moveTo>
                    <a:pt x="222" y="200"/>
                  </a:moveTo>
                  <a:lnTo>
                    <a:pt x="328" y="200"/>
                  </a:lnTo>
                  <a:lnTo>
                    <a:pt x="328" y="243"/>
                  </a:lnTo>
                  <a:lnTo>
                    <a:pt x="222" y="243"/>
                  </a:lnTo>
                  <a:lnTo>
                    <a:pt x="222" y="200"/>
                  </a:lnTo>
                  <a:close/>
                  <a:moveTo>
                    <a:pt x="222" y="317"/>
                  </a:moveTo>
                  <a:lnTo>
                    <a:pt x="328" y="317"/>
                  </a:lnTo>
                  <a:lnTo>
                    <a:pt x="328" y="369"/>
                  </a:lnTo>
                  <a:lnTo>
                    <a:pt x="222" y="369"/>
                  </a:lnTo>
                  <a:lnTo>
                    <a:pt x="222" y="317"/>
                  </a:lnTo>
                  <a:close/>
                  <a:moveTo>
                    <a:pt x="222" y="443"/>
                  </a:moveTo>
                  <a:lnTo>
                    <a:pt x="328" y="443"/>
                  </a:lnTo>
                  <a:lnTo>
                    <a:pt x="328" y="496"/>
                  </a:lnTo>
                  <a:lnTo>
                    <a:pt x="222" y="496"/>
                  </a:lnTo>
                  <a:lnTo>
                    <a:pt x="222" y="443"/>
                  </a:lnTo>
                  <a:close/>
                  <a:moveTo>
                    <a:pt x="222" y="570"/>
                  </a:moveTo>
                  <a:lnTo>
                    <a:pt x="328" y="570"/>
                  </a:lnTo>
                  <a:lnTo>
                    <a:pt x="328" y="613"/>
                  </a:lnTo>
                  <a:lnTo>
                    <a:pt x="222" y="613"/>
                  </a:lnTo>
                  <a:lnTo>
                    <a:pt x="222" y="570"/>
                  </a:lnTo>
                  <a:close/>
                  <a:moveTo>
                    <a:pt x="222" y="697"/>
                  </a:moveTo>
                  <a:lnTo>
                    <a:pt x="328" y="697"/>
                  </a:lnTo>
                  <a:lnTo>
                    <a:pt x="328" y="739"/>
                  </a:lnTo>
                  <a:lnTo>
                    <a:pt x="222" y="739"/>
                  </a:lnTo>
                  <a:lnTo>
                    <a:pt x="222" y="697"/>
                  </a:lnTo>
                  <a:close/>
                  <a:moveTo>
                    <a:pt x="222" y="813"/>
                  </a:moveTo>
                  <a:lnTo>
                    <a:pt x="328" y="813"/>
                  </a:lnTo>
                  <a:lnTo>
                    <a:pt x="328" y="866"/>
                  </a:lnTo>
                  <a:lnTo>
                    <a:pt x="222" y="866"/>
                  </a:lnTo>
                  <a:lnTo>
                    <a:pt x="222" y="813"/>
                  </a:lnTo>
                  <a:close/>
                  <a:moveTo>
                    <a:pt x="74" y="74"/>
                  </a:moveTo>
                  <a:lnTo>
                    <a:pt x="180" y="74"/>
                  </a:lnTo>
                  <a:lnTo>
                    <a:pt x="180" y="116"/>
                  </a:lnTo>
                  <a:lnTo>
                    <a:pt x="74" y="116"/>
                  </a:lnTo>
                  <a:lnTo>
                    <a:pt x="74" y="74"/>
                  </a:lnTo>
                  <a:close/>
                  <a:moveTo>
                    <a:pt x="74" y="317"/>
                  </a:moveTo>
                  <a:lnTo>
                    <a:pt x="180" y="317"/>
                  </a:lnTo>
                  <a:lnTo>
                    <a:pt x="180" y="369"/>
                  </a:lnTo>
                  <a:lnTo>
                    <a:pt x="74" y="369"/>
                  </a:lnTo>
                  <a:lnTo>
                    <a:pt x="74" y="317"/>
                  </a:lnTo>
                  <a:close/>
                  <a:moveTo>
                    <a:pt x="74" y="443"/>
                  </a:moveTo>
                  <a:lnTo>
                    <a:pt x="180" y="443"/>
                  </a:lnTo>
                  <a:lnTo>
                    <a:pt x="180" y="496"/>
                  </a:lnTo>
                  <a:lnTo>
                    <a:pt x="74" y="496"/>
                  </a:lnTo>
                  <a:lnTo>
                    <a:pt x="74" y="443"/>
                  </a:lnTo>
                  <a:close/>
                  <a:moveTo>
                    <a:pt x="74" y="697"/>
                  </a:moveTo>
                  <a:lnTo>
                    <a:pt x="180" y="697"/>
                  </a:lnTo>
                  <a:lnTo>
                    <a:pt x="180" y="739"/>
                  </a:lnTo>
                  <a:lnTo>
                    <a:pt x="74" y="739"/>
                  </a:lnTo>
                  <a:lnTo>
                    <a:pt x="74" y="697"/>
                  </a:lnTo>
                  <a:close/>
                  <a:moveTo>
                    <a:pt x="74" y="813"/>
                  </a:moveTo>
                  <a:lnTo>
                    <a:pt x="180" y="813"/>
                  </a:lnTo>
                  <a:lnTo>
                    <a:pt x="180" y="866"/>
                  </a:lnTo>
                  <a:lnTo>
                    <a:pt x="74" y="866"/>
                  </a:lnTo>
                  <a:lnTo>
                    <a:pt x="74" y="813"/>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grpSp>
      <p:sp>
        <p:nvSpPr>
          <p:cNvPr id="48" name="Rectangle 16">
            <a:extLst>
              <a:ext uri="{FF2B5EF4-FFF2-40B4-BE49-F238E27FC236}">
                <a16:creationId xmlns:a16="http://schemas.microsoft.com/office/drawing/2014/main" id="{690E8658-EF23-F270-B32C-B3524611EEB0}"/>
              </a:ext>
            </a:extLst>
          </p:cNvPr>
          <p:cNvSpPr>
            <a:spLocks noChangeArrowheads="1"/>
          </p:cNvSpPr>
          <p:nvPr/>
        </p:nvSpPr>
        <p:spPr bwMode="auto">
          <a:xfrm>
            <a:off x="430549" y="5611733"/>
            <a:ext cx="11248481" cy="68593"/>
          </a:xfrm>
          <a:prstGeom prst="rect">
            <a:avLst/>
          </a:pr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49" name="Round Same Side Corner Rectangle 59">
            <a:extLst>
              <a:ext uri="{FF2B5EF4-FFF2-40B4-BE49-F238E27FC236}">
                <a16:creationId xmlns:a16="http://schemas.microsoft.com/office/drawing/2014/main" id="{BF47862B-2DED-B832-D709-589786B0806D}"/>
              </a:ext>
            </a:extLst>
          </p:cNvPr>
          <p:cNvSpPr/>
          <p:nvPr/>
        </p:nvSpPr>
        <p:spPr>
          <a:xfrm>
            <a:off x="430549" y="5791489"/>
            <a:ext cx="2688520" cy="408028"/>
          </a:xfrm>
          <a:prstGeom prst="round2SameRect">
            <a:avLst>
              <a:gd name="adj1" fmla="val 50000"/>
              <a:gd name="adj2" fmla="val 50000"/>
            </a:avLst>
          </a:prstGeom>
          <a:solidFill>
            <a:srgbClr val="046A38"/>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prstClr val="white"/>
                </a:solidFill>
                <a:effectLst/>
                <a:uLnTx/>
                <a:uFillTx/>
                <a:latin typeface="Calibri"/>
                <a:ea typeface="+mn-ea"/>
                <a:cs typeface="Lato Regular"/>
              </a:rPr>
              <a:t>Process</a:t>
            </a:r>
          </a:p>
        </p:txBody>
      </p:sp>
      <p:sp>
        <p:nvSpPr>
          <p:cNvPr id="51" name="Round Same Side Corner Rectangle 59">
            <a:extLst>
              <a:ext uri="{FF2B5EF4-FFF2-40B4-BE49-F238E27FC236}">
                <a16:creationId xmlns:a16="http://schemas.microsoft.com/office/drawing/2014/main" id="{27AD6FD9-4AF6-96C2-5271-80BC804A72B1}"/>
              </a:ext>
            </a:extLst>
          </p:cNvPr>
          <p:cNvSpPr/>
          <p:nvPr/>
        </p:nvSpPr>
        <p:spPr>
          <a:xfrm>
            <a:off x="3283869" y="5791489"/>
            <a:ext cx="2688520" cy="408028"/>
          </a:xfrm>
          <a:prstGeom prst="round2SameRect">
            <a:avLst>
              <a:gd name="adj1" fmla="val 50000"/>
              <a:gd name="adj2" fmla="val 50000"/>
            </a:avLst>
          </a:prstGeom>
          <a:solidFill>
            <a:srgbClr val="009A44"/>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prstClr val="white"/>
                </a:solidFill>
                <a:effectLst/>
                <a:uLnTx/>
                <a:uFillTx/>
                <a:latin typeface="Calibri"/>
                <a:ea typeface="+mn-ea"/>
                <a:cs typeface="Lato Regular"/>
              </a:rPr>
              <a:t>Data</a:t>
            </a:r>
          </a:p>
        </p:txBody>
      </p:sp>
      <p:sp>
        <p:nvSpPr>
          <p:cNvPr id="52" name="Round Same Side Corner Rectangle 59">
            <a:extLst>
              <a:ext uri="{FF2B5EF4-FFF2-40B4-BE49-F238E27FC236}">
                <a16:creationId xmlns:a16="http://schemas.microsoft.com/office/drawing/2014/main" id="{302708C1-A5FA-B58F-3DE7-9E1E332FF000}"/>
              </a:ext>
            </a:extLst>
          </p:cNvPr>
          <p:cNvSpPr/>
          <p:nvPr/>
        </p:nvSpPr>
        <p:spPr>
          <a:xfrm>
            <a:off x="6137189" y="5791489"/>
            <a:ext cx="2688520" cy="408028"/>
          </a:xfrm>
          <a:prstGeom prst="round2SameRect">
            <a:avLst>
              <a:gd name="adj1" fmla="val 50000"/>
              <a:gd name="adj2" fmla="val 50000"/>
            </a:avLst>
          </a:prstGeom>
          <a:solidFill>
            <a:srgbClr val="43B02A"/>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prstClr val="white"/>
                </a:solidFill>
                <a:effectLst/>
                <a:uLnTx/>
                <a:uFillTx/>
                <a:latin typeface="Calibri"/>
                <a:ea typeface="+mn-ea"/>
                <a:cs typeface="Lato Regular"/>
              </a:rPr>
              <a:t>Architecture</a:t>
            </a:r>
          </a:p>
        </p:txBody>
      </p:sp>
      <p:sp>
        <p:nvSpPr>
          <p:cNvPr id="53" name="Round Same Side Corner Rectangle 59">
            <a:extLst>
              <a:ext uri="{FF2B5EF4-FFF2-40B4-BE49-F238E27FC236}">
                <a16:creationId xmlns:a16="http://schemas.microsoft.com/office/drawing/2014/main" id="{36E88CFF-4C94-A0FD-D815-AB18180E4BC7}"/>
              </a:ext>
            </a:extLst>
          </p:cNvPr>
          <p:cNvSpPr/>
          <p:nvPr/>
        </p:nvSpPr>
        <p:spPr>
          <a:xfrm>
            <a:off x="8990510" y="5791489"/>
            <a:ext cx="2688520" cy="408028"/>
          </a:xfrm>
          <a:prstGeom prst="round2SameRect">
            <a:avLst>
              <a:gd name="adj1" fmla="val 50000"/>
              <a:gd name="adj2" fmla="val 50000"/>
            </a:avLst>
          </a:prstGeom>
          <a:solidFill>
            <a:srgbClr val="86BC25"/>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prstClr val="white"/>
                </a:solidFill>
                <a:effectLst/>
                <a:uLnTx/>
                <a:uFillTx/>
                <a:latin typeface="Calibri"/>
                <a:ea typeface="+mn-ea"/>
                <a:cs typeface="Lato Regular"/>
              </a:rPr>
              <a:t>Customer / Employee</a:t>
            </a:r>
          </a:p>
        </p:txBody>
      </p:sp>
      <p:sp>
        <p:nvSpPr>
          <p:cNvPr id="56" name="Graphic 4">
            <a:extLst>
              <a:ext uri="{FF2B5EF4-FFF2-40B4-BE49-F238E27FC236}">
                <a16:creationId xmlns:a16="http://schemas.microsoft.com/office/drawing/2014/main" id="{7D277F79-5783-40FC-5875-14415EB66F4D}"/>
              </a:ext>
            </a:extLst>
          </p:cNvPr>
          <p:cNvSpPr/>
          <p:nvPr/>
        </p:nvSpPr>
        <p:spPr>
          <a:xfrm>
            <a:off x="9435799" y="1751093"/>
            <a:ext cx="810327" cy="583988"/>
          </a:xfrm>
          <a:custGeom>
            <a:avLst/>
            <a:gdLst>
              <a:gd name="connsiteX0" fmla="*/ 228120 w 235788"/>
              <a:gd name="connsiteY0" fmla="*/ 12768 h 173644"/>
              <a:gd name="connsiteX1" fmla="*/ 229398 w 235788"/>
              <a:gd name="connsiteY1" fmla="*/ 12768 h 173644"/>
              <a:gd name="connsiteX2" fmla="*/ 235788 w 235788"/>
              <a:gd name="connsiteY2" fmla="*/ 6384 h 173644"/>
              <a:gd name="connsiteX3" fmla="*/ 229398 w 235788"/>
              <a:gd name="connsiteY3" fmla="*/ 0 h 173644"/>
              <a:gd name="connsiteX4" fmla="*/ 221731 w 235788"/>
              <a:gd name="connsiteY4" fmla="*/ 0 h 173644"/>
              <a:gd name="connsiteX5" fmla="*/ 215341 w 235788"/>
              <a:gd name="connsiteY5" fmla="*/ 6384 h 173644"/>
              <a:gd name="connsiteX6" fmla="*/ 215341 w 235788"/>
              <a:gd name="connsiteY6" fmla="*/ 23620 h 173644"/>
              <a:gd name="connsiteX7" fmla="*/ 182752 w 235788"/>
              <a:gd name="connsiteY7" fmla="*/ 23620 h 173644"/>
              <a:gd name="connsiteX8" fmla="*/ 127799 w 235788"/>
              <a:gd name="connsiteY8" fmla="*/ 7660 h 173644"/>
              <a:gd name="connsiteX9" fmla="*/ 123325 w 235788"/>
              <a:gd name="connsiteY9" fmla="*/ 8299 h 173644"/>
              <a:gd name="connsiteX10" fmla="*/ 95209 w 235788"/>
              <a:gd name="connsiteY10" fmla="*/ 23620 h 173644"/>
              <a:gd name="connsiteX11" fmla="*/ 94571 w 235788"/>
              <a:gd name="connsiteY11" fmla="*/ 23620 h 173644"/>
              <a:gd name="connsiteX12" fmla="*/ 20447 w 235788"/>
              <a:gd name="connsiteY12" fmla="*/ 23620 h 173644"/>
              <a:gd name="connsiteX13" fmla="*/ 20447 w 235788"/>
              <a:gd name="connsiteY13" fmla="*/ 6384 h 173644"/>
              <a:gd name="connsiteX14" fmla="*/ 14058 w 235788"/>
              <a:gd name="connsiteY14" fmla="*/ 0 h 173644"/>
              <a:gd name="connsiteX15" fmla="*/ 6390 w 235788"/>
              <a:gd name="connsiteY15" fmla="*/ 0 h 173644"/>
              <a:gd name="connsiteX16" fmla="*/ 0 w 235788"/>
              <a:gd name="connsiteY16" fmla="*/ 6384 h 173644"/>
              <a:gd name="connsiteX17" fmla="*/ 6390 w 235788"/>
              <a:gd name="connsiteY17" fmla="*/ 12768 h 173644"/>
              <a:gd name="connsiteX18" fmla="*/ 7668 w 235788"/>
              <a:gd name="connsiteY18" fmla="*/ 12768 h 173644"/>
              <a:gd name="connsiteX19" fmla="*/ 7668 w 235788"/>
              <a:gd name="connsiteY19" fmla="*/ 127680 h 173644"/>
              <a:gd name="connsiteX20" fmla="*/ 6390 w 235788"/>
              <a:gd name="connsiteY20" fmla="*/ 127680 h 173644"/>
              <a:gd name="connsiteX21" fmla="*/ 0 w 235788"/>
              <a:gd name="connsiteY21" fmla="*/ 134064 h 173644"/>
              <a:gd name="connsiteX22" fmla="*/ 6390 w 235788"/>
              <a:gd name="connsiteY22" fmla="*/ 140448 h 173644"/>
              <a:gd name="connsiteX23" fmla="*/ 14058 w 235788"/>
              <a:gd name="connsiteY23" fmla="*/ 140448 h 173644"/>
              <a:gd name="connsiteX24" fmla="*/ 20447 w 235788"/>
              <a:gd name="connsiteY24" fmla="*/ 134064 h 173644"/>
              <a:gd name="connsiteX25" fmla="*/ 20447 w 235788"/>
              <a:gd name="connsiteY25" fmla="*/ 124488 h 173644"/>
              <a:gd name="connsiteX26" fmla="*/ 34505 w 235788"/>
              <a:gd name="connsiteY26" fmla="*/ 124488 h 173644"/>
              <a:gd name="connsiteX27" fmla="*/ 56870 w 235788"/>
              <a:gd name="connsiteY27" fmla="*/ 161515 h 173644"/>
              <a:gd name="connsiteX28" fmla="*/ 70928 w 235788"/>
              <a:gd name="connsiteY28" fmla="*/ 172368 h 173644"/>
              <a:gd name="connsiteX29" fmla="*/ 77957 w 235788"/>
              <a:gd name="connsiteY29" fmla="*/ 173644 h 173644"/>
              <a:gd name="connsiteX30" fmla="*/ 88820 w 235788"/>
              <a:gd name="connsiteY30" fmla="*/ 170452 h 173644"/>
              <a:gd name="connsiteX31" fmla="*/ 95849 w 235788"/>
              <a:gd name="connsiteY31" fmla="*/ 164068 h 173644"/>
              <a:gd name="connsiteX32" fmla="*/ 107989 w 235788"/>
              <a:gd name="connsiteY32" fmla="*/ 171729 h 173644"/>
              <a:gd name="connsiteX33" fmla="*/ 113740 w 235788"/>
              <a:gd name="connsiteY33" fmla="*/ 172368 h 173644"/>
              <a:gd name="connsiteX34" fmla="*/ 125881 w 235788"/>
              <a:gd name="connsiteY34" fmla="*/ 169176 h 173644"/>
              <a:gd name="connsiteX35" fmla="*/ 133549 w 235788"/>
              <a:gd name="connsiteY35" fmla="*/ 161515 h 173644"/>
              <a:gd name="connsiteX36" fmla="*/ 152080 w 235788"/>
              <a:gd name="connsiteY36" fmla="*/ 170452 h 173644"/>
              <a:gd name="connsiteX37" fmla="*/ 163582 w 235788"/>
              <a:gd name="connsiteY37" fmla="*/ 167260 h 173644"/>
              <a:gd name="connsiteX38" fmla="*/ 173806 w 235788"/>
              <a:gd name="connsiteY38" fmla="*/ 153216 h 173644"/>
              <a:gd name="connsiteX39" fmla="*/ 173806 w 235788"/>
              <a:gd name="connsiteY39" fmla="*/ 153216 h 173644"/>
              <a:gd name="connsiteX40" fmla="*/ 179557 w 235788"/>
              <a:gd name="connsiteY40" fmla="*/ 153854 h 173644"/>
              <a:gd name="connsiteX41" fmla="*/ 191698 w 235788"/>
              <a:gd name="connsiteY41" fmla="*/ 150662 h 173644"/>
              <a:gd name="connsiteX42" fmla="*/ 202561 w 235788"/>
              <a:gd name="connsiteY42" fmla="*/ 124488 h 173644"/>
              <a:gd name="connsiteX43" fmla="*/ 214063 w 235788"/>
              <a:gd name="connsiteY43" fmla="*/ 124488 h 173644"/>
              <a:gd name="connsiteX44" fmla="*/ 215341 w 235788"/>
              <a:gd name="connsiteY44" fmla="*/ 123849 h 173644"/>
              <a:gd name="connsiteX45" fmla="*/ 215341 w 235788"/>
              <a:gd name="connsiteY45" fmla="*/ 133425 h 173644"/>
              <a:gd name="connsiteX46" fmla="*/ 221731 w 235788"/>
              <a:gd name="connsiteY46" fmla="*/ 139809 h 173644"/>
              <a:gd name="connsiteX47" fmla="*/ 229398 w 235788"/>
              <a:gd name="connsiteY47" fmla="*/ 139809 h 173644"/>
              <a:gd name="connsiteX48" fmla="*/ 235788 w 235788"/>
              <a:gd name="connsiteY48" fmla="*/ 133425 h 173644"/>
              <a:gd name="connsiteX49" fmla="*/ 229398 w 235788"/>
              <a:gd name="connsiteY49" fmla="*/ 127041 h 173644"/>
              <a:gd name="connsiteX50" fmla="*/ 228120 w 235788"/>
              <a:gd name="connsiteY50" fmla="*/ 127041 h 173644"/>
              <a:gd name="connsiteX51" fmla="*/ 228120 w 235788"/>
              <a:gd name="connsiteY51" fmla="*/ 12768 h 173644"/>
              <a:gd name="connsiteX52" fmla="*/ 189781 w 235788"/>
              <a:gd name="connsiteY52" fmla="*/ 132787 h 173644"/>
              <a:gd name="connsiteX53" fmla="*/ 184669 w 235788"/>
              <a:gd name="connsiteY53" fmla="*/ 139171 h 173644"/>
              <a:gd name="connsiteX54" fmla="*/ 177001 w 235788"/>
              <a:gd name="connsiteY54" fmla="*/ 140448 h 173644"/>
              <a:gd name="connsiteX55" fmla="*/ 170611 w 235788"/>
              <a:gd name="connsiteY55" fmla="*/ 135340 h 173644"/>
              <a:gd name="connsiteX56" fmla="*/ 145051 w 235788"/>
              <a:gd name="connsiteY56" fmla="*/ 91929 h 173644"/>
              <a:gd name="connsiteX57" fmla="*/ 136105 w 235788"/>
              <a:gd name="connsiteY57" fmla="*/ 89376 h 173644"/>
              <a:gd name="connsiteX58" fmla="*/ 133549 w 235788"/>
              <a:gd name="connsiteY58" fmla="*/ 98313 h 173644"/>
              <a:gd name="connsiteX59" fmla="*/ 159109 w 235788"/>
              <a:gd name="connsiteY59" fmla="*/ 141724 h 173644"/>
              <a:gd name="connsiteX60" fmla="*/ 156553 w 235788"/>
              <a:gd name="connsiteY60" fmla="*/ 155769 h 173644"/>
              <a:gd name="connsiteX61" fmla="*/ 141856 w 235788"/>
              <a:gd name="connsiteY61" fmla="*/ 151939 h 173644"/>
              <a:gd name="connsiteX62" fmla="*/ 132910 w 235788"/>
              <a:gd name="connsiteY62" fmla="*/ 137256 h 173644"/>
              <a:gd name="connsiteX63" fmla="*/ 132910 w 235788"/>
              <a:gd name="connsiteY63" fmla="*/ 136617 h 173644"/>
              <a:gd name="connsiteX64" fmla="*/ 132910 w 235788"/>
              <a:gd name="connsiteY64" fmla="*/ 136617 h 173644"/>
              <a:gd name="connsiteX65" fmla="*/ 120769 w 235788"/>
              <a:gd name="connsiteY65" fmla="*/ 115550 h 173644"/>
              <a:gd name="connsiteX66" fmla="*/ 120130 w 235788"/>
              <a:gd name="connsiteY66" fmla="*/ 114912 h 173644"/>
              <a:gd name="connsiteX67" fmla="*/ 118214 w 235788"/>
              <a:gd name="connsiteY67" fmla="*/ 111081 h 173644"/>
              <a:gd name="connsiteX68" fmla="*/ 109268 w 235788"/>
              <a:gd name="connsiteY68" fmla="*/ 109166 h 173644"/>
              <a:gd name="connsiteX69" fmla="*/ 107350 w 235788"/>
              <a:gd name="connsiteY69" fmla="*/ 118104 h 173644"/>
              <a:gd name="connsiteX70" fmla="*/ 122686 w 235788"/>
              <a:gd name="connsiteY70" fmla="*/ 143640 h 173644"/>
              <a:gd name="connsiteX71" fmla="*/ 118853 w 235788"/>
              <a:gd name="connsiteY71" fmla="*/ 157684 h 173644"/>
              <a:gd name="connsiteX72" fmla="*/ 111184 w 235788"/>
              <a:gd name="connsiteY72" fmla="*/ 158961 h 173644"/>
              <a:gd name="connsiteX73" fmla="*/ 104794 w 235788"/>
              <a:gd name="connsiteY73" fmla="*/ 153854 h 173644"/>
              <a:gd name="connsiteX74" fmla="*/ 104794 w 235788"/>
              <a:gd name="connsiteY74" fmla="*/ 153854 h 173644"/>
              <a:gd name="connsiteX75" fmla="*/ 95849 w 235788"/>
              <a:gd name="connsiteY75" fmla="*/ 139171 h 173644"/>
              <a:gd name="connsiteX76" fmla="*/ 95849 w 235788"/>
              <a:gd name="connsiteY76" fmla="*/ 139171 h 173644"/>
              <a:gd name="connsiteX77" fmla="*/ 95849 w 235788"/>
              <a:gd name="connsiteY77" fmla="*/ 139171 h 173644"/>
              <a:gd name="connsiteX78" fmla="*/ 90098 w 235788"/>
              <a:gd name="connsiteY78" fmla="*/ 130872 h 173644"/>
              <a:gd name="connsiteX79" fmla="*/ 81152 w 235788"/>
              <a:gd name="connsiteY79" fmla="*/ 128956 h 173644"/>
              <a:gd name="connsiteX80" fmla="*/ 79235 w 235788"/>
              <a:gd name="connsiteY80" fmla="*/ 137894 h 173644"/>
              <a:gd name="connsiteX81" fmla="*/ 84986 w 235788"/>
              <a:gd name="connsiteY81" fmla="*/ 146193 h 173644"/>
              <a:gd name="connsiteX82" fmla="*/ 86264 w 235788"/>
              <a:gd name="connsiteY82" fmla="*/ 153854 h 173644"/>
              <a:gd name="connsiteX83" fmla="*/ 81791 w 235788"/>
              <a:gd name="connsiteY83" fmla="*/ 159600 h 173644"/>
              <a:gd name="connsiteX84" fmla="*/ 74123 w 235788"/>
              <a:gd name="connsiteY84" fmla="*/ 160238 h 173644"/>
              <a:gd name="connsiteX85" fmla="*/ 67094 w 235788"/>
              <a:gd name="connsiteY85" fmla="*/ 154492 h 173644"/>
              <a:gd name="connsiteX86" fmla="*/ 43451 w 235788"/>
              <a:gd name="connsiteY86" fmla="*/ 114912 h 173644"/>
              <a:gd name="connsiteX87" fmla="*/ 37700 w 235788"/>
              <a:gd name="connsiteY87" fmla="*/ 111720 h 173644"/>
              <a:gd name="connsiteX88" fmla="*/ 20447 w 235788"/>
              <a:gd name="connsiteY88" fmla="*/ 111720 h 173644"/>
              <a:gd name="connsiteX89" fmla="*/ 20447 w 235788"/>
              <a:gd name="connsiteY89" fmla="*/ 37027 h 173644"/>
              <a:gd name="connsiteX90" fmla="*/ 70928 w 235788"/>
              <a:gd name="connsiteY90" fmla="*/ 37027 h 173644"/>
              <a:gd name="connsiteX91" fmla="*/ 58787 w 235788"/>
              <a:gd name="connsiteY91" fmla="*/ 43411 h 173644"/>
              <a:gd name="connsiteX92" fmla="*/ 47925 w 235788"/>
              <a:gd name="connsiteY92" fmla="*/ 62563 h 173644"/>
              <a:gd name="connsiteX93" fmla="*/ 55592 w 235788"/>
              <a:gd name="connsiteY93" fmla="*/ 80438 h 173644"/>
              <a:gd name="connsiteX94" fmla="*/ 71567 w 235788"/>
              <a:gd name="connsiteY94" fmla="*/ 84907 h 173644"/>
              <a:gd name="connsiteX95" fmla="*/ 157831 w 235788"/>
              <a:gd name="connsiteY95" fmla="*/ 70224 h 173644"/>
              <a:gd name="connsiteX96" fmla="*/ 189142 w 235788"/>
              <a:gd name="connsiteY96" fmla="*/ 125126 h 173644"/>
              <a:gd name="connsiteX97" fmla="*/ 189781 w 235788"/>
              <a:gd name="connsiteY97" fmla="*/ 132787 h 173644"/>
              <a:gd name="connsiteX98" fmla="*/ 213423 w 235788"/>
              <a:gd name="connsiteY98" fmla="*/ 111720 h 173644"/>
              <a:gd name="connsiteX99" fmla="*/ 197448 w 235788"/>
              <a:gd name="connsiteY99" fmla="*/ 111720 h 173644"/>
              <a:gd name="connsiteX100" fmla="*/ 195532 w 235788"/>
              <a:gd name="connsiteY100" fmla="*/ 112358 h 173644"/>
              <a:gd name="connsiteX101" fmla="*/ 166138 w 235788"/>
              <a:gd name="connsiteY101" fmla="*/ 60009 h 173644"/>
              <a:gd name="connsiteX102" fmla="*/ 159748 w 235788"/>
              <a:gd name="connsiteY102" fmla="*/ 56817 h 173644"/>
              <a:gd name="connsiteX103" fmla="*/ 69011 w 235788"/>
              <a:gd name="connsiteY103" fmla="*/ 72139 h 173644"/>
              <a:gd name="connsiteX104" fmla="*/ 63260 w 235788"/>
              <a:gd name="connsiteY104" fmla="*/ 70862 h 173644"/>
              <a:gd name="connsiteX105" fmla="*/ 60065 w 235788"/>
              <a:gd name="connsiteY105" fmla="*/ 62563 h 173644"/>
              <a:gd name="connsiteX106" fmla="*/ 64538 w 235788"/>
              <a:gd name="connsiteY106" fmla="*/ 54902 h 173644"/>
              <a:gd name="connsiteX107" fmla="*/ 125881 w 235788"/>
              <a:gd name="connsiteY107" fmla="*/ 21705 h 173644"/>
              <a:gd name="connsiteX108" fmla="*/ 178918 w 235788"/>
              <a:gd name="connsiteY108" fmla="*/ 37027 h 173644"/>
              <a:gd name="connsiteX109" fmla="*/ 180835 w 235788"/>
              <a:gd name="connsiteY109" fmla="*/ 37027 h 173644"/>
              <a:gd name="connsiteX110" fmla="*/ 214063 w 235788"/>
              <a:gd name="connsiteY110" fmla="*/ 37027 h 173644"/>
              <a:gd name="connsiteX111" fmla="*/ 214063 w 235788"/>
              <a:gd name="connsiteY111" fmla="*/ 112358 h 173644"/>
              <a:gd name="connsiteX112" fmla="*/ 213423 w 235788"/>
              <a:gd name="connsiteY112" fmla="*/ 111720 h 17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235788" h="173644">
                <a:moveTo>
                  <a:pt x="228120" y="12768"/>
                </a:moveTo>
                <a:lnTo>
                  <a:pt x="229398" y="12768"/>
                </a:lnTo>
                <a:cubicBezTo>
                  <a:pt x="233233" y="12768"/>
                  <a:pt x="235788" y="10214"/>
                  <a:pt x="235788" y="6384"/>
                </a:cubicBezTo>
                <a:cubicBezTo>
                  <a:pt x="235788" y="2553"/>
                  <a:pt x="233233" y="0"/>
                  <a:pt x="229398" y="0"/>
                </a:cubicBezTo>
                <a:lnTo>
                  <a:pt x="221731" y="0"/>
                </a:lnTo>
                <a:cubicBezTo>
                  <a:pt x="217897" y="0"/>
                  <a:pt x="215341" y="2553"/>
                  <a:pt x="215341" y="6384"/>
                </a:cubicBezTo>
                <a:lnTo>
                  <a:pt x="215341" y="23620"/>
                </a:lnTo>
                <a:lnTo>
                  <a:pt x="182752" y="23620"/>
                </a:lnTo>
                <a:lnTo>
                  <a:pt x="127799" y="7660"/>
                </a:lnTo>
                <a:cubicBezTo>
                  <a:pt x="126520" y="7022"/>
                  <a:pt x="124604" y="7660"/>
                  <a:pt x="123325" y="8299"/>
                </a:cubicBezTo>
                <a:lnTo>
                  <a:pt x="95209" y="23620"/>
                </a:lnTo>
                <a:cubicBezTo>
                  <a:pt x="95209" y="23620"/>
                  <a:pt x="95209" y="23620"/>
                  <a:pt x="94571" y="23620"/>
                </a:cubicBezTo>
                <a:lnTo>
                  <a:pt x="20447" y="23620"/>
                </a:lnTo>
                <a:lnTo>
                  <a:pt x="20447" y="6384"/>
                </a:lnTo>
                <a:cubicBezTo>
                  <a:pt x="20447" y="2553"/>
                  <a:pt x="17891" y="0"/>
                  <a:pt x="14058" y="0"/>
                </a:cubicBezTo>
                <a:lnTo>
                  <a:pt x="6390" y="0"/>
                </a:lnTo>
                <a:cubicBezTo>
                  <a:pt x="2555" y="0"/>
                  <a:pt x="0" y="2553"/>
                  <a:pt x="0" y="6384"/>
                </a:cubicBezTo>
                <a:cubicBezTo>
                  <a:pt x="0" y="10214"/>
                  <a:pt x="2555" y="12768"/>
                  <a:pt x="6390" y="12768"/>
                </a:cubicBezTo>
                <a:lnTo>
                  <a:pt x="7668" y="12768"/>
                </a:lnTo>
                <a:lnTo>
                  <a:pt x="7668" y="127680"/>
                </a:lnTo>
                <a:lnTo>
                  <a:pt x="6390" y="127680"/>
                </a:lnTo>
                <a:cubicBezTo>
                  <a:pt x="2555" y="127680"/>
                  <a:pt x="0" y="130233"/>
                  <a:pt x="0" y="134064"/>
                </a:cubicBezTo>
                <a:cubicBezTo>
                  <a:pt x="0" y="137894"/>
                  <a:pt x="2555" y="140448"/>
                  <a:pt x="6390" y="140448"/>
                </a:cubicBezTo>
                <a:lnTo>
                  <a:pt x="14058" y="140448"/>
                </a:lnTo>
                <a:cubicBezTo>
                  <a:pt x="17891" y="140448"/>
                  <a:pt x="20447" y="137894"/>
                  <a:pt x="20447" y="134064"/>
                </a:cubicBezTo>
                <a:lnTo>
                  <a:pt x="20447" y="124488"/>
                </a:lnTo>
                <a:lnTo>
                  <a:pt x="34505" y="124488"/>
                </a:lnTo>
                <a:lnTo>
                  <a:pt x="56870" y="161515"/>
                </a:lnTo>
                <a:cubicBezTo>
                  <a:pt x="60065" y="166622"/>
                  <a:pt x="65177" y="170452"/>
                  <a:pt x="70928" y="172368"/>
                </a:cubicBezTo>
                <a:cubicBezTo>
                  <a:pt x="73484" y="173006"/>
                  <a:pt x="75401" y="173644"/>
                  <a:pt x="77957" y="173644"/>
                </a:cubicBezTo>
                <a:cubicBezTo>
                  <a:pt x="81791" y="173644"/>
                  <a:pt x="85625" y="172368"/>
                  <a:pt x="88820" y="170452"/>
                </a:cubicBezTo>
                <a:cubicBezTo>
                  <a:pt x="92014" y="168537"/>
                  <a:pt x="93932" y="166622"/>
                  <a:pt x="95849" y="164068"/>
                </a:cubicBezTo>
                <a:cubicBezTo>
                  <a:pt x="99044" y="167899"/>
                  <a:pt x="102878" y="170452"/>
                  <a:pt x="107989" y="171729"/>
                </a:cubicBezTo>
                <a:cubicBezTo>
                  <a:pt x="109907" y="172368"/>
                  <a:pt x="111824" y="172368"/>
                  <a:pt x="113740" y="172368"/>
                </a:cubicBezTo>
                <a:cubicBezTo>
                  <a:pt x="117574" y="172368"/>
                  <a:pt x="122048" y="171091"/>
                  <a:pt x="125881" y="169176"/>
                </a:cubicBezTo>
                <a:cubicBezTo>
                  <a:pt x="129076" y="167260"/>
                  <a:pt x="131633" y="164707"/>
                  <a:pt x="133549" y="161515"/>
                </a:cubicBezTo>
                <a:cubicBezTo>
                  <a:pt x="138022" y="167260"/>
                  <a:pt x="145051" y="170452"/>
                  <a:pt x="152080" y="170452"/>
                </a:cubicBezTo>
                <a:cubicBezTo>
                  <a:pt x="155914" y="170452"/>
                  <a:pt x="159748" y="169176"/>
                  <a:pt x="163582" y="167260"/>
                </a:cubicBezTo>
                <a:cubicBezTo>
                  <a:pt x="169333" y="164068"/>
                  <a:pt x="172528" y="158961"/>
                  <a:pt x="173806" y="153216"/>
                </a:cubicBezTo>
                <a:cubicBezTo>
                  <a:pt x="173806" y="153216"/>
                  <a:pt x="173806" y="153216"/>
                  <a:pt x="173806" y="153216"/>
                </a:cubicBezTo>
                <a:cubicBezTo>
                  <a:pt x="175723" y="153854"/>
                  <a:pt x="177640" y="153854"/>
                  <a:pt x="179557" y="153854"/>
                </a:cubicBezTo>
                <a:cubicBezTo>
                  <a:pt x="183391" y="153854"/>
                  <a:pt x="187864" y="152577"/>
                  <a:pt x="191698" y="150662"/>
                </a:cubicBezTo>
                <a:cubicBezTo>
                  <a:pt x="200643" y="145555"/>
                  <a:pt x="205117" y="134702"/>
                  <a:pt x="202561" y="124488"/>
                </a:cubicBezTo>
                <a:lnTo>
                  <a:pt x="214063" y="124488"/>
                </a:lnTo>
                <a:cubicBezTo>
                  <a:pt x="214702" y="124488"/>
                  <a:pt x="215341" y="124488"/>
                  <a:pt x="215341" y="123849"/>
                </a:cubicBezTo>
                <a:lnTo>
                  <a:pt x="215341" y="133425"/>
                </a:lnTo>
                <a:cubicBezTo>
                  <a:pt x="215341" y="137256"/>
                  <a:pt x="217897" y="139809"/>
                  <a:pt x="221731" y="139809"/>
                </a:cubicBezTo>
                <a:lnTo>
                  <a:pt x="229398" y="139809"/>
                </a:lnTo>
                <a:cubicBezTo>
                  <a:pt x="233233" y="139809"/>
                  <a:pt x="235788" y="137256"/>
                  <a:pt x="235788" y="133425"/>
                </a:cubicBezTo>
                <a:cubicBezTo>
                  <a:pt x="235788" y="129595"/>
                  <a:pt x="233233" y="127041"/>
                  <a:pt x="229398" y="127041"/>
                </a:cubicBezTo>
                <a:lnTo>
                  <a:pt x="228120" y="127041"/>
                </a:lnTo>
                <a:lnTo>
                  <a:pt x="228120" y="12768"/>
                </a:lnTo>
                <a:close/>
                <a:moveTo>
                  <a:pt x="189781" y="132787"/>
                </a:moveTo>
                <a:cubicBezTo>
                  <a:pt x="189142" y="135340"/>
                  <a:pt x="187225" y="137894"/>
                  <a:pt x="184669" y="139171"/>
                </a:cubicBezTo>
                <a:cubicBezTo>
                  <a:pt x="182113" y="140448"/>
                  <a:pt x="179557" y="141086"/>
                  <a:pt x="177001" y="140448"/>
                </a:cubicBezTo>
                <a:cubicBezTo>
                  <a:pt x="174445" y="139809"/>
                  <a:pt x="171889" y="137894"/>
                  <a:pt x="170611" y="135340"/>
                </a:cubicBezTo>
                <a:lnTo>
                  <a:pt x="145051" y="91929"/>
                </a:lnTo>
                <a:cubicBezTo>
                  <a:pt x="143134" y="88737"/>
                  <a:pt x="139300" y="88099"/>
                  <a:pt x="136105" y="89376"/>
                </a:cubicBezTo>
                <a:cubicBezTo>
                  <a:pt x="132910" y="90652"/>
                  <a:pt x="132271" y="95121"/>
                  <a:pt x="133549" y="98313"/>
                </a:cubicBezTo>
                <a:lnTo>
                  <a:pt x="159109" y="141724"/>
                </a:lnTo>
                <a:cubicBezTo>
                  <a:pt x="161665" y="146193"/>
                  <a:pt x="161665" y="152577"/>
                  <a:pt x="156553" y="155769"/>
                </a:cubicBezTo>
                <a:cubicBezTo>
                  <a:pt x="151441" y="158961"/>
                  <a:pt x="145051" y="157046"/>
                  <a:pt x="141856" y="151939"/>
                </a:cubicBezTo>
                <a:lnTo>
                  <a:pt x="132910" y="137256"/>
                </a:lnTo>
                <a:cubicBezTo>
                  <a:pt x="132910" y="137256"/>
                  <a:pt x="132910" y="137256"/>
                  <a:pt x="132910" y="136617"/>
                </a:cubicBezTo>
                <a:cubicBezTo>
                  <a:pt x="132910" y="136617"/>
                  <a:pt x="132910" y="136617"/>
                  <a:pt x="132910" y="136617"/>
                </a:cubicBezTo>
                <a:lnTo>
                  <a:pt x="120769" y="115550"/>
                </a:lnTo>
                <a:cubicBezTo>
                  <a:pt x="120769" y="115550"/>
                  <a:pt x="120130" y="114912"/>
                  <a:pt x="120130" y="114912"/>
                </a:cubicBezTo>
                <a:lnTo>
                  <a:pt x="118214" y="111081"/>
                </a:lnTo>
                <a:cubicBezTo>
                  <a:pt x="116297" y="107889"/>
                  <a:pt x="112463" y="107251"/>
                  <a:pt x="109268" y="109166"/>
                </a:cubicBezTo>
                <a:cubicBezTo>
                  <a:pt x="106073" y="111081"/>
                  <a:pt x="105434" y="114912"/>
                  <a:pt x="107350" y="118104"/>
                </a:cubicBezTo>
                <a:lnTo>
                  <a:pt x="122686" y="143640"/>
                </a:lnTo>
                <a:cubicBezTo>
                  <a:pt x="125243" y="148747"/>
                  <a:pt x="123964" y="154492"/>
                  <a:pt x="118853" y="157684"/>
                </a:cubicBezTo>
                <a:cubicBezTo>
                  <a:pt x="116297" y="158961"/>
                  <a:pt x="113740" y="159600"/>
                  <a:pt x="111184" y="158961"/>
                </a:cubicBezTo>
                <a:cubicBezTo>
                  <a:pt x="108629" y="158323"/>
                  <a:pt x="106073" y="156408"/>
                  <a:pt x="104794" y="153854"/>
                </a:cubicBezTo>
                <a:cubicBezTo>
                  <a:pt x="104794" y="153854"/>
                  <a:pt x="104794" y="153854"/>
                  <a:pt x="104794" y="153854"/>
                </a:cubicBezTo>
                <a:lnTo>
                  <a:pt x="95849" y="139171"/>
                </a:lnTo>
                <a:cubicBezTo>
                  <a:pt x="95849" y="139171"/>
                  <a:pt x="95849" y="139171"/>
                  <a:pt x="95849" y="139171"/>
                </a:cubicBezTo>
                <a:cubicBezTo>
                  <a:pt x="95849" y="139171"/>
                  <a:pt x="95849" y="139171"/>
                  <a:pt x="95849" y="139171"/>
                </a:cubicBezTo>
                <a:lnTo>
                  <a:pt x="90098" y="130872"/>
                </a:lnTo>
                <a:cubicBezTo>
                  <a:pt x="88181" y="127680"/>
                  <a:pt x="84347" y="127041"/>
                  <a:pt x="81152" y="128956"/>
                </a:cubicBezTo>
                <a:cubicBezTo>
                  <a:pt x="77957" y="130872"/>
                  <a:pt x="77318" y="134702"/>
                  <a:pt x="79235" y="137894"/>
                </a:cubicBezTo>
                <a:lnTo>
                  <a:pt x="84986" y="146193"/>
                </a:lnTo>
                <a:cubicBezTo>
                  <a:pt x="86264" y="148747"/>
                  <a:pt x="86903" y="151300"/>
                  <a:pt x="86264" y="153854"/>
                </a:cubicBezTo>
                <a:cubicBezTo>
                  <a:pt x="85625" y="156408"/>
                  <a:pt x="84347" y="158323"/>
                  <a:pt x="81791" y="159600"/>
                </a:cubicBezTo>
                <a:cubicBezTo>
                  <a:pt x="79874" y="160876"/>
                  <a:pt x="76679" y="160876"/>
                  <a:pt x="74123" y="160238"/>
                </a:cubicBezTo>
                <a:cubicBezTo>
                  <a:pt x="71567" y="159600"/>
                  <a:pt x="69011" y="157684"/>
                  <a:pt x="67094" y="154492"/>
                </a:cubicBezTo>
                <a:lnTo>
                  <a:pt x="43451" y="114912"/>
                </a:lnTo>
                <a:cubicBezTo>
                  <a:pt x="42173" y="112996"/>
                  <a:pt x="40256" y="111720"/>
                  <a:pt x="37700" y="111720"/>
                </a:cubicBezTo>
                <a:lnTo>
                  <a:pt x="20447" y="111720"/>
                </a:lnTo>
                <a:lnTo>
                  <a:pt x="20447" y="37027"/>
                </a:lnTo>
                <a:lnTo>
                  <a:pt x="70928" y="37027"/>
                </a:lnTo>
                <a:lnTo>
                  <a:pt x="58787" y="43411"/>
                </a:lnTo>
                <a:cubicBezTo>
                  <a:pt x="51758" y="47241"/>
                  <a:pt x="47925" y="54264"/>
                  <a:pt x="47925" y="62563"/>
                </a:cubicBezTo>
                <a:cubicBezTo>
                  <a:pt x="47925" y="69585"/>
                  <a:pt x="50480" y="75969"/>
                  <a:pt x="55592" y="80438"/>
                </a:cubicBezTo>
                <a:cubicBezTo>
                  <a:pt x="60065" y="84268"/>
                  <a:pt x="65177" y="85545"/>
                  <a:pt x="71567" y="84907"/>
                </a:cubicBezTo>
                <a:lnTo>
                  <a:pt x="157831" y="70224"/>
                </a:lnTo>
                <a:lnTo>
                  <a:pt x="189142" y="125126"/>
                </a:lnTo>
                <a:cubicBezTo>
                  <a:pt x="189781" y="127680"/>
                  <a:pt x="190420" y="130233"/>
                  <a:pt x="189781" y="132787"/>
                </a:cubicBezTo>
                <a:close/>
                <a:moveTo>
                  <a:pt x="213423" y="111720"/>
                </a:moveTo>
                <a:lnTo>
                  <a:pt x="197448" y="111720"/>
                </a:lnTo>
                <a:cubicBezTo>
                  <a:pt x="196810" y="111720"/>
                  <a:pt x="196171" y="111720"/>
                  <a:pt x="195532" y="112358"/>
                </a:cubicBezTo>
                <a:lnTo>
                  <a:pt x="166138" y="60009"/>
                </a:lnTo>
                <a:cubicBezTo>
                  <a:pt x="164860" y="57456"/>
                  <a:pt x="162304" y="56179"/>
                  <a:pt x="159748" y="56817"/>
                </a:cubicBezTo>
                <a:lnTo>
                  <a:pt x="69011" y="72139"/>
                </a:lnTo>
                <a:cubicBezTo>
                  <a:pt x="66455" y="72777"/>
                  <a:pt x="65177" y="72139"/>
                  <a:pt x="63260" y="70862"/>
                </a:cubicBezTo>
                <a:cubicBezTo>
                  <a:pt x="61343" y="68947"/>
                  <a:pt x="60065" y="65755"/>
                  <a:pt x="60065" y="62563"/>
                </a:cubicBezTo>
                <a:cubicBezTo>
                  <a:pt x="60065" y="59371"/>
                  <a:pt x="61982" y="56179"/>
                  <a:pt x="64538" y="54902"/>
                </a:cubicBezTo>
                <a:lnTo>
                  <a:pt x="125881" y="21705"/>
                </a:lnTo>
                <a:lnTo>
                  <a:pt x="178918" y="37027"/>
                </a:lnTo>
                <a:cubicBezTo>
                  <a:pt x="179557" y="37027"/>
                  <a:pt x="180196" y="37027"/>
                  <a:pt x="180835" y="37027"/>
                </a:cubicBezTo>
                <a:lnTo>
                  <a:pt x="214063" y="37027"/>
                </a:lnTo>
                <a:lnTo>
                  <a:pt x="214063" y="112358"/>
                </a:lnTo>
                <a:cubicBezTo>
                  <a:pt x="214702" y="111720"/>
                  <a:pt x="214063" y="111720"/>
                  <a:pt x="213423" y="111720"/>
                </a:cubicBezTo>
                <a:close/>
              </a:path>
            </a:pathLst>
          </a:custGeom>
          <a:solidFill>
            <a:srgbClr val="92D050"/>
          </a:solidFill>
          <a:ln w="6390" cap="flat">
            <a:noFill/>
            <a:prstDash val="solid"/>
            <a:miter/>
          </a:ln>
        </p:spPr>
        <p:txBody>
          <a:bodyPr rtlCol="0" anchor="ctr"/>
          <a:lstStyle/>
          <a:p>
            <a:endParaRPr lang="en-US" dirty="0"/>
          </a:p>
        </p:txBody>
      </p:sp>
      <p:sp>
        <p:nvSpPr>
          <p:cNvPr id="59" name="Graphic 4">
            <a:extLst>
              <a:ext uri="{FF2B5EF4-FFF2-40B4-BE49-F238E27FC236}">
                <a16:creationId xmlns:a16="http://schemas.microsoft.com/office/drawing/2014/main" id="{0EC00618-2D99-F7E0-4D13-6D5AB1C7871C}"/>
              </a:ext>
            </a:extLst>
          </p:cNvPr>
          <p:cNvSpPr/>
          <p:nvPr/>
        </p:nvSpPr>
        <p:spPr>
          <a:xfrm>
            <a:off x="5982493" y="1671604"/>
            <a:ext cx="674776" cy="738664"/>
          </a:xfrm>
          <a:custGeom>
            <a:avLst/>
            <a:gdLst>
              <a:gd name="connsiteX0" fmla="*/ 186721 w 190800"/>
              <a:gd name="connsiteY0" fmla="*/ 15322 h 203010"/>
              <a:gd name="connsiteX1" fmla="*/ 180970 w 190800"/>
              <a:gd name="connsiteY1" fmla="*/ 15322 h 203010"/>
              <a:gd name="connsiteX2" fmla="*/ 100457 w 190800"/>
              <a:gd name="connsiteY2" fmla="*/ 1915 h 203010"/>
              <a:gd name="connsiteX3" fmla="*/ 91511 w 190800"/>
              <a:gd name="connsiteY3" fmla="*/ 1915 h 203010"/>
              <a:gd name="connsiteX4" fmla="*/ 10998 w 190800"/>
              <a:gd name="connsiteY4" fmla="*/ 15322 h 203010"/>
              <a:gd name="connsiteX5" fmla="*/ 2052 w 190800"/>
              <a:gd name="connsiteY5" fmla="*/ 17875 h 203010"/>
              <a:gd name="connsiteX6" fmla="*/ 1413 w 190800"/>
              <a:gd name="connsiteY6" fmla="*/ 20429 h 203010"/>
              <a:gd name="connsiteX7" fmla="*/ 92789 w 190800"/>
              <a:gd name="connsiteY7" fmla="*/ 202372 h 203010"/>
              <a:gd name="connsiteX8" fmla="*/ 93428 w 190800"/>
              <a:gd name="connsiteY8" fmla="*/ 203011 h 203010"/>
              <a:gd name="connsiteX9" fmla="*/ 94067 w 190800"/>
              <a:gd name="connsiteY9" fmla="*/ 203011 h 203010"/>
              <a:gd name="connsiteX10" fmla="*/ 95345 w 190800"/>
              <a:gd name="connsiteY10" fmla="*/ 203011 h 203010"/>
              <a:gd name="connsiteX11" fmla="*/ 95345 w 190800"/>
              <a:gd name="connsiteY11" fmla="*/ 203011 h 203010"/>
              <a:gd name="connsiteX12" fmla="*/ 96623 w 190800"/>
              <a:gd name="connsiteY12" fmla="*/ 203011 h 203010"/>
              <a:gd name="connsiteX13" fmla="*/ 97262 w 190800"/>
              <a:gd name="connsiteY13" fmla="*/ 203011 h 203010"/>
              <a:gd name="connsiteX14" fmla="*/ 97901 w 190800"/>
              <a:gd name="connsiteY14" fmla="*/ 202372 h 203010"/>
              <a:gd name="connsiteX15" fmla="*/ 189277 w 190800"/>
              <a:gd name="connsiteY15" fmla="*/ 20429 h 203010"/>
              <a:gd name="connsiteX16" fmla="*/ 186721 w 190800"/>
              <a:gd name="connsiteY16" fmla="*/ 15322 h 203010"/>
              <a:gd name="connsiteX17" fmla="*/ 13554 w 190800"/>
              <a:gd name="connsiteY17" fmla="*/ 30643 h 203010"/>
              <a:gd name="connsiteX18" fmla="*/ 95984 w 190800"/>
              <a:gd name="connsiteY18" fmla="*/ 15322 h 203010"/>
              <a:gd name="connsiteX19" fmla="*/ 126655 w 190800"/>
              <a:gd name="connsiteY19" fmla="*/ 32558 h 203010"/>
              <a:gd name="connsiteX20" fmla="*/ 33362 w 190800"/>
              <a:gd name="connsiteY20" fmla="*/ 125764 h 203010"/>
              <a:gd name="connsiteX21" fmla="*/ 13554 w 190800"/>
              <a:gd name="connsiteY21" fmla="*/ 30643 h 203010"/>
              <a:gd name="connsiteX22" fmla="*/ 13554 w 190800"/>
              <a:gd name="connsiteY22" fmla="*/ 30643 h 203010"/>
              <a:gd name="connsiteX23" fmla="*/ 48059 w 190800"/>
              <a:gd name="connsiteY23" fmla="*/ 147470 h 203010"/>
              <a:gd name="connsiteX24" fmla="*/ 40391 w 190800"/>
              <a:gd name="connsiteY24" fmla="*/ 136617 h 203010"/>
              <a:gd name="connsiteX25" fmla="*/ 141991 w 190800"/>
              <a:gd name="connsiteY25" fmla="*/ 35112 h 203010"/>
              <a:gd name="connsiteX26" fmla="*/ 161161 w 190800"/>
              <a:gd name="connsiteY26" fmla="*/ 34474 h 203010"/>
              <a:gd name="connsiteX27" fmla="*/ 48059 w 190800"/>
              <a:gd name="connsiteY27" fmla="*/ 147470 h 203010"/>
              <a:gd name="connsiteX28" fmla="*/ 95345 w 190800"/>
              <a:gd name="connsiteY28" fmla="*/ 189604 h 203010"/>
              <a:gd name="connsiteX29" fmla="*/ 55727 w 190800"/>
              <a:gd name="connsiteY29" fmla="*/ 157684 h 203010"/>
              <a:gd name="connsiteX30" fmla="*/ 177775 w 190800"/>
              <a:gd name="connsiteY30" fmla="*/ 35750 h 203010"/>
              <a:gd name="connsiteX31" fmla="*/ 95345 w 190800"/>
              <a:gd name="connsiteY31" fmla="*/ 189604 h 203010"/>
              <a:gd name="connsiteX32" fmla="*/ 95345 w 190800"/>
              <a:gd name="connsiteY32" fmla="*/ 189604 h 20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800" h="203010">
                <a:moveTo>
                  <a:pt x="186721" y="15322"/>
                </a:moveTo>
                <a:cubicBezTo>
                  <a:pt x="184804" y="14045"/>
                  <a:pt x="182248" y="14045"/>
                  <a:pt x="180970" y="15322"/>
                </a:cubicBezTo>
                <a:cubicBezTo>
                  <a:pt x="154132" y="29366"/>
                  <a:pt x="121543" y="23621"/>
                  <a:pt x="100457" y="1915"/>
                </a:cubicBezTo>
                <a:cubicBezTo>
                  <a:pt x="97901" y="-638"/>
                  <a:pt x="94067" y="-638"/>
                  <a:pt x="91511" y="1915"/>
                </a:cubicBezTo>
                <a:cubicBezTo>
                  <a:pt x="71063" y="24259"/>
                  <a:pt x="37835" y="29366"/>
                  <a:pt x="10998" y="15322"/>
                </a:cubicBezTo>
                <a:cubicBezTo>
                  <a:pt x="7803" y="13406"/>
                  <a:pt x="3969" y="14683"/>
                  <a:pt x="2052" y="17875"/>
                </a:cubicBezTo>
                <a:cubicBezTo>
                  <a:pt x="1413" y="18514"/>
                  <a:pt x="1413" y="19152"/>
                  <a:pt x="1413" y="20429"/>
                </a:cubicBezTo>
                <a:cubicBezTo>
                  <a:pt x="-13284" y="146193"/>
                  <a:pt x="91511" y="201734"/>
                  <a:pt x="92789" y="202372"/>
                </a:cubicBezTo>
                <a:lnTo>
                  <a:pt x="93428" y="203011"/>
                </a:lnTo>
                <a:lnTo>
                  <a:pt x="94067" y="203011"/>
                </a:lnTo>
                <a:lnTo>
                  <a:pt x="95345" y="203011"/>
                </a:lnTo>
                <a:lnTo>
                  <a:pt x="95345" y="203011"/>
                </a:lnTo>
                <a:lnTo>
                  <a:pt x="96623" y="203011"/>
                </a:lnTo>
                <a:lnTo>
                  <a:pt x="97262" y="203011"/>
                </a:lnTo>
                <a:lnTo>
                  <a:pt x="97901" y="202372"/>
                </a:lnTo>
                <a:cubicBezTo>
                  <a:pt x="99179" y="201734"/>
                  <a:pt x="204613" y="146193"/>
                  <a:pt x="189277" y="20429"/>
                </a:cubicBezTo>
                <a:cubicBezTo>
                  <a:pt x="189916" y="17875"/>
                  <a:pt x="188638" y="15960"/>
                  <a:pt x="186721" y="15322"/>
                </a:cubicBezTo>
                <a:close/>
                <a:moveTo>
                  <a:pt x="13554" y="30643"/>
                </a:moveTo>
                <a:cubicBezTo>
                  <a:pt x="41669" y="41496"/>
                  <a:pt x="73619" y="35750"/>
                  <a:pt x="95984" y="15322"/>
                </a:cubicBezTo>
                <a:cubicBezTo>
                  <a:pt x="104930" y="23621"/>
                  <a:pt x="115154" y="29366"/>
                  <a:pt x="126655" y="32558"/>
                </a:cubicBezTo>
                <a:lnTo>
                  <a:pt x="33362" y="125764"/>
                </a:lnTo>
                <a:cubicBezTo>
                  <a:pt x="17387" y="96398"/>
                  <a:pt x="10359" y="63201"/>
                  <a:pt x="13554" y="30643"/>
                </a:cubicBezTo>
                <a:lnTo>
                  <a:pt x="13554" y="30643"/>
                </a:lnTo>
                <a:close/>
                <a:moveTo>
                  <a:pt x="48059" y="147470"/>
                </a:moveTo>
                <a:cubicBezTo>
                  <a:pt x="45503" y="144278"/>
                  <a:pt x="42947" y="140448"/>
                  <a:pt x="40391" y="136617"/>
                </a:cubicBezTo>
                <a:lnTo>
                  <a:pt x="141991" y="35112"/>
                </a:lnTo>
                <a:cubicBezTo>
                  <a:pt x="148381" y="35750"/>
                  <a:pt x="154771" y="35112"/>
                  <a:pt x="161161" y="34474"/>
                </a:cubicBezTo>
                <a:lnTo>
                  <a:pt x="48059" y="147470"/>
                </a:lnTo>
                <a:close/>
                <a:moveTo>
                  <a:pt x="95345" y="189604"/>
                </a:moveTo>
                <a:cubicBezTo>
                  <a:pt x="80648" y="180667"/>
                  <a:pt x="67229" y="170452"/>
                  <a:pt x="55727" y="157684"/>
                </a:cubicBezTo>
                <a:lnTo>
                  <a:pt x="177775" y="35750"/>
                </a:lnTo>
                <a:cubicBezTo>
                  <a:pt x="183526" y="132787"/>
                  <a:pt x="111959" y="180667"/>
                  <a:pt x="95345" y="189604"/>
                </a:cubicBezTo>
                <a:lnTo>
                  <a:pt x="95345" y="189604"/>
                </a:lnTo>
                <a:close/>
              </a:path>
            </a:pathLst>
          </a:custGeom>
          <a:solidFill>
            <a:srgbClr val="92D050"/>
          </a:solidFill>
          <a:ln w="6390" cap="flat">
            <a:noFill/>
            <a:prstDash val="solid"/>
            <a:miter/>
          </a:ln>
        </p:spPr>
        <p:txBody>
          <a:bodyPr rtlCol="0" anchor="ctr"/>
          <a:lstStyle/>
          <a:p>
            <a:endParaRPr lang="en-US" dirty="0"/>
          </a:p>
        </p:txBody>
      </p:sp>
    </p:spTree>
    <p:extLst>
      <p:ext uri="{BB962C8B-B14F-4D97-AF65-F5344CB8AC3E}">
        <p14:creationId xmlns:p14="http://schemas.microsoft.com/office/powerpoint/2010/main" val="18929472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 grpId="0"/>
      <p:bldP spid="47" grpId="0"/>
      <p:bldP spid="48" grpId="0" animBg="1"/>
      <p:bldP spid="49" grpId="0" animBg="1"/>
      <p:bldP spid="51" grpId="0" animBg="1"/>
      <p:bldP spid="52" grpId="0" animBg="1"/>
      <p:bldP spid="53" grpId="0" animBg="1"/>
      <p:bldP spid="56" grpId="0" animBg="1"/>
      <p:bldP spid="5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文本框 43">
            <a:extLst>
              <a:ext uri="{FF2B5EF4-FFF2-40B4-BE49-F238E27FC236}">
                <a16:creationId xmlns:a16="http://schemas.microsoft.com/office/drawing/2014/main" id="{A8689FE5-4E37-EE79-8D50-55AA9B477EF2}"/>
              </a:ext>
            </a:extLst>
          </p:cNvPr>
          <p:cNvSpPr txBox="1">
            <a:spLocks noChangeArrowheads="1"/>
          </p:cNvSpPr>
          <p:nvPr/>
        </p:nvSpPr>
        <p:spPr bwMode="auto">
          <a:xfrm>
            <a:off x="945879" y="4291591"/>
            <a:ext cx="1951436"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285750" indent="-285750">
              <a:buFont typeface="Arial" panose="020B0604020202020204" pitchFamily="34" charset="0"/>
              <a:buChar char="•"/>
            </a:pPr>
            <a:r>
              <a:rPr lang="en-US" altLang="zh-CN" sz="1600" dirty="0">
                <a:solidFill>
                  <a:schemeClr val="bg1"/>
                </a:solidFill>
                <a:latin typeface="+mn-lt"/>
              </a:rPr>
              <a:t>User experience</a:t>
            </a:r>
          </a:p>
          <a:p>
            <a:pPr marL="285750" indent="-285750">
              <a:buFont typeface="Arial" panose="020B0604020202020204" pitchFamily="34" charset="0"/>
              <a:buChar char="•"/>
            </a:pPr>
            <a:r>
              <a:rPr lang="en-US" altLang="zh-CN" sz="1600" dirty="0">
                <a:solidFill>
                  <a:schemeClr val="bg1"/>
                </a:solidFill>
              </a:rPr>
              <a:t>Digital solution </a:t>
            </a:r>
          </a:p>
          <a:p>
            <a:pPr marL="285750" indent="-285750">
              <a:buFont typeface="Arial" panose="020B0604020202020204" pitchFamily="34" charset="0"/>
              <a:buChar char="•"/>
            </a:pPr>
            <a:r>
              <a:rPr lang="en-US" altLang="zh-CN" sz="1600" dirty="0">
                <a:solidFill>
                  <a:schemeClr val="bg1"/>
                </a:solidFill>
                <a:latin typeface="+mn-lt"/>
              </a:rPr>
              <a:t>Governance</a:t>
            </a:r>
          </a:p>
          <a:p>
            <a:endParaRPr lang="en-US" altLang="zh-CN" sz="1600" dirty="0">
              <a:solidFill>
                <a:schemeClr val="bg1"/>
              </a:solidFill>
              <a:latin typeface="+mn-lt"/>
            </a:endParaRPr>
          </a:p>
        </p:txBody>
      </p:sp>
      <p:sp>
        <p:nvSpPr>
          <p:cNvPr id="6" name="TextBox 5">
            <a:extLst>
              <a:ext uri="{FF2B5EF4-FFF2-40B4-BE49-F238E27FC236}">
                <a16:creationId xmlns:a16="http://schemas.microsoft.com/office/drawing/2014/main" id="{6C1094C4-BF1B-A976-87B8-078C4A31C016}"/>
              </a:ext>
            </a:extLst>
          </p:cNvPr>
          <p:cNvSpPr txBox="1"/>
          <p:nvPr/>
        </p:nvSpPr>
        <p:spPr>
          <a:xfrm>
            <a:off x="430550" y="326399"/>
            <a:ext cx="10154792" cy="461665"/>
          </a:xfrm>
          <a:prstGeom prst="rect">
            <a:avLst/>
          </a:prstGeom>
          <a:noFill/>
        </p:spPr>
        <p:txBody>
          <a:bodyPr wrap="square" rtlCol="0">
            <a:spAutoFit/>
          </a:bodyPr>
          <a:lstStyle/>
          <a:p>
            <a:r>
              <a:rPr lang="en-NZ" sz="2400" dirty="0">
                <a:solidFill>
                  <a:schemeClr val="bg1"/>
                </a:solidFill>
              </a:rPr>
              <a:t>Remediation | </a:t>
            </a:r>
            <a:r>
              <a:rPr lang="en-NZ" sz="2400" b="1" dirty="0">
                <a:solidFill>
                  <a:schemeClr val="bg1"/>
                </a:solidFill>
              </a:rPr>
              <a:t>Refunding customers/employees</a:t>
            </a:r>
            <a:r>
              <a:rPr lang="en-NZ" sz="2400" dirty="0">
                <a:solidFill>
                  <a:schemeClr val="bg1"/>
                </a:solidFill>
              </a:rPr>
              <a:t> </a:t>
            </a:r>
          </a:p>
        </p:txBody>
      </p:sp>
      <p:sp>
        <p:nvSpPr>
          <p:cNvPr id="9" name="Rectangle 8">
            <a:extLst>
              <a:ext uri="{FF2B5EF4-FFF2-40B4-BE49-F238E27FC236}">
                <a16:creationId xmlns:a16="http://schemas.microsoft.com/office/drawing/2014/main" id="{056197A6-2BB1-2C11-1F73-81564A8A37DC}"/>
              </a:ext>
            </a:extLst>
          </p:cNvPr>
          <p:cNvSpPr/>
          <p:nvPr/>
        </p:nvSpPr>
        <p:spPr>
          <a:xfrm>
            <a:off x="430550" y="788064"/>
            <a:ext cx="5366786" cy="328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r>
              <a:rPr lang="en-NZ" dirty="0">
                <a:solidFill>
                  <a:schemeClr val="bg1">
                    <a:lumMod val="85000"/>
                  </a:schemeClr>
                </a:solidFill>
              </a:rPr>
              <a:t>Context and requirements</a:t>
            </a:r>
          </a:p>
        </p:txBody>
      </p:sp>
      <p:sp>
        <p:nvSpPr>
          <p:cNvPr id="3" name="椭圆 7">
            <a:extLst>
              <a:ext uri="{FF2B5EF4-FFF2-40B4-BE49-F238E27FC236}">
                <a16:creationId xmlns:a16="http://schemas.microsoft.com/office/drawing/2014/main" id="{021B3700-A8F3-4A91-7F72-2CCDF61D614B}"/>
              </a:ext>
            </a:extLst>
          </p:cNvPr>
          <p:cNvSpPr>
            <a:spLocks noChangeArrowheads="1"/>
          </p:cNvSpPr>
          <p:nvPr/>
        </p:nvSpPr>
        <p:spPr bwMode="auto">
          <a:xfrm>
            <a:off x="4152186" y="2180639"/>
            <a:ext cx="1699838" cy="1278323"/>
          </a:xfrm>
          <a:prstGeom prst="hexagon">
            <a:avLst>
              <a:gd name="adj" fmla="val 25009"/>
              <a:gd name="vf" fmla="val 115470"/>
            </a:avLst>
          </a:prstGeom>
          <a:noFill/>
          <a:ln w="34925">
            <a:solidFill>
              <a:srgbClr val="43B02A"/>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4" name="椭圆 8">
            <a:extLst>
              <a:ext uri="{FF2B5EF4-FFF2-40B4-BE49-F238E27FC236}">
                <a16:creationId xmlns:a16="http://schemas.microsoft.com/office/drawing/2014/main" id="{EAC1C58E-91E4-67EE-D3AB-655B8C2DC148}"/>
              </a:ext>
            </a:extLst>
          </p:cNvPr>
          <p:cNvSpPr>
            <a:spLocks noChangeArrowheads="1"/>
          </p:cNvSpPr>
          <p:nvPr/>
        </p:nvSpPr>
        <p:spPr bwMode="auto">
          <a:xfrm>
            <a:off x="3908209" y="1905369"/>
            <a:ext cx="2187791" cy="1798860"/>
          </a:xfrm>
          <a:prstGeom prst="hexagon">
            <a:avLst>
              <a:gd name="adj" fmla="val 24986"/>
              <a:gd name="vf" fmla="val 115470"/>
            </a:avLst>
          </a:prstGeom>
          <a:noFill/>
          <a:ln w="22225">
            <a:solidFill>
              <a:srgbClr val="43B02A"/>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10" name="文本框 17">
            <a:extLst>
              <a:ext uri="{FF2B5EF4-FFF2-40B4-BE49-F238E27FC236}">
                <a16:creationId xmlns:a16="http://schemas.microsoft.com/office/drawing/2014/main" id="{E38D5DBF-BB20-191C-057B-A3074A1D025A}"/>
              </a:ext>
            </a:extLst>
          </p:cNvPr>
          <p:cNvSpPr txBox="1">
            <a:spLocks noChangeArrowheads="1"/>
          </p:cNvSpPr>
          <p:nvPr/>
        </p:nvSpPr>
        <p:spPr bwMode="auto">
          <a:xfrm>
            <a:off x="4210699" y="2613013"/>
            <a:ext cx="1549851" cy="29255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1600" dirty="0">
                <a:solidFill>
                  <a:schemeClr val="bg1"/>
                </a:solidFill>
                <a:latin typeface="+mn-ea"/>
                <a:ea typeface="+mn-ea"/>
              </a:rPr>
              <a:t>Context</a:t>
            </a:r>
            <a:endParaRPr lang="zh-CN" altLang="en-US" sz="1600">
              <a:solidFill>
                <a:schemeClr val="bg1"/>
              </a:solidFill>
              <a:latin typeface="+mn-ea"/>
              <a:ea typeface="+mn-ea"/>
            </a:endParaRPr>
          </a:p>
        </p:txBody>
      </p:sp>
      <p:cxnSp>
        <p:nvCxnSpPr>
          <p:cNvPr id="12" name="直接连接符 21">
            <a:extLst>
              <a:ext uri="{FF2B5EF4-FFF2-40B4-BE49-F238E27FC236}">
                <a16:creationId xmlns:a16="http://schemas.microsoft.com/office/drawing/2014/main" id="{7D1A68E6-5595-F638-0D7C-93EAFB2A5F25}"/>
              </a:ext>
            </a:extLst>
          </p:cNvPr>
          <p:cNvCxnSpPr>
            <a:cxnSpLocks noChangeShapeType="1"/>
          </p:cNvCxnSpPr>
          <p:nvPr/>
        </p:nvCxnSpPr>
        <p:spPr bwMode="auto">
          <a:xfrm>
            <a:off x="2654577" y="2822662"/>
            <a:ext cx="1253631" cy="0"/>
          </a:xfrm>
          <a:prstGeom prst="line">
            <a:avLst/>
          </a:prstGeom>
          <a:solidFill>
            <a:srgbClr val="86BC25"/>
          </a:solidFill>
          <a:ln w="15875">
            <a:solidFill>
              <a:srgbClr val="43B02A"/>
            </a:solidFill>
            <a:round/>
          </a:ln>
        </p:spPr>
      </p:cxnSp>
      <p:sp>
        <p:nvSpPr>
          <p:cNvPr id="13" name="椭圆 28">
            <a:extLst>
              <a:ext uri="{FF2B5EF4-FFF2-40B4-BE49-F238E27FC236}">
                <a16:creationId xmlns:a16="http://schemas.microsoft.com/office/drawing/2014/main" id="{466D4B23-9B32-F0D0-CD78-B5B035330385}"/>
              </a:ext>
            </a:extLst>
          </p:cNvPr>
          <p:cNvSpPr>
            <a:spLocks noChangeArrowheads="1"/>
          </p:cNvSpPr>
          <p:nvPr/>
        </p:nvSpPr>
        <p:spPr bwMode="auto">
          <a:xfrm>
            <a:off x="2563105" y="2741074"/>
            <a:ext cx="146850" cy="163174"/>
          </a:xfrm>
          <a:prstGeom prst="ellipse">
            <a:avLst/>
          </a:prstGeom>
          <a:solidFill>
            <a:srgbClr val="86BC25"/>
          </a:solidFill>
          <a:ln w="9525">
            <a:solidFill>
              <a:srgbClr val="43B02A"/>
            </a:solidFill>
            <a:round/>
          </a:ln>
        </p:spPr>
        <p:txBody>
          <a:bodyPr anchor="ctr"/>
          <a:lstStyle/>
          <a:p>
            <a:pPr algn="ctr" eaLnBrk="1" hangingPunct="1"/>
            <a:endParaRPr lang="zh-CN" altLang="en-US">
              <a:solidFill>
                <a:schemeClr val="bg1"/>
              </a:solidFill>
            </a:endParaRPr>
          </a:p>
        </p:txBody>
      </p:sp>
      <p:sp>
        <p:nvSpPr>
          <p:cNvPr id="14" name="文本框 43">
            <a:extLst>
              <a:ext uri="{FF2B5EF4-FFF2-40B4-BE49-F238E27FC236}">
                <a16:creationId xmlns:a16="http://schemas.microsoft.com/office/drawing/2014/main" id="{1C3C706F-09E8-BD24-C1E0-58C25E01C325}"/>
              </a:ext>
            </a:extLst>
          </p:cNvPr>
          <p:cNvSpPr txBox="1">
            <a:spLocks noChangeArrowheads="1"/>
          </p:cNvSpPr>
          <p:nvPr/>
        </p:nvSpPr>
        <p:spPr bwMode="auto">
          <a:xfrm>
            <a:off x="1403386" y="2550103"/>
            <a:ext cx="11946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285750" indent="-285750">
              <a:buFont typeface="Arial" panose="020B0604020202020204" pitchFamily="34" charset="0"/>
              <a:buChar char="•"/>
            </a:pPr>
            <a:r>
              <a:rPr lang="en-US" altLang="zh-CN" sz="1600" dirty="0">
                <a:solidFill>
                  <a:schemeClr val="bg1"/>
                </a:solidFill>
                <a:latin typeface="+mn-lt"/>
              </a:rPr>
              <a:t>Volume</a:t>
            </a:r>
          </a:p>
          <a:p>
            <a:pPr marL="285750" indent="-285750">
              <a:buFont typeface="Arial" panose="020B0604020202020204" pitchFamily="34" charset="0"/>
              <a:buChar char="•"/>
            </a:pPr>
            <a:r>
              <a:rPr lang="en-US" altLang="zh-CN" sz="1600" dirty="0">
                <a:solidFill>
                  <a:schemeClr val="bg1"/>
                </a:solidFill>
                <a:latin typeface="+mn-lt"/>
              </a:rPr>
              <a:t>Brand</a:t>
            </a:r>
            <a:endParaRPr lang="zh-CN" altLang="en-US" sz="1600">
              <a:solidFill>
                <a:schemeClr val="bg1"/>
              </a:solidFill>
              <a:latin typeface="+mn-lt"/>
              <a:ea typeface="微软雅黑" panose="020B0503020204020204" pitchFamily="34" charset="-122"/>
            </a:endParaRPr>
          </a:p>
        </p:txBody>
      </p:sp>
      <p:cxnSp>
        <p:nvCxnSpPr>
          <p:cNvPr id="16" name="直接连接符 21">
            <a:extLst>
              <a:ext uri="{FF2B5EF4-FFF2-40B4-BE49-F238E27FC236}">
                <a16:creationId xmlns:a16="http://schemas.microsoft.com/office/drawing/2014/main" id="{A51D0859-8B4B-44AB-0F35-E613CEEE8941}"/>
              </a:ext>
            </a:extLst>
          </p:cNvPr>
          <p:cNvCxnSpPr>
            <a:cxnSpLocks noChangeShapeType="1"/>
          </p:cNvCxnSpPr>
          <p:nvPr/>
        </p:nvCxnSpPr>
        <p:spPr bwMode="auto">
          <a:xfrm flipV="1">
            <a:off x="2835725" y="4797174"/>
            <a:ext cx="1058895" cy="15276"/>
          </a:xfrm>
          <a:prstGeom prst="line">
            <a:avLst/>
          </a:prstGeom>
          <a:solidFill>
            <a:srgbClr val="62B5E5"/>
          </a:solidFill>
          <a:ln w="15875">
            <a:solidFill>
              <a:srgbClr val="00A3E0"/>
            </a:solidFill>
            <a:round/>
          </a:ln>
        </p:spPr>
      </p:cxnSp>
      <p:sp>
        <p:nvSpPr>
          <p:cNvPr id="17" name="椭圆 28">
            <a:extLst>
              <a:ext uri="{FF2B5EF4-FFF2-40B4-BE49-F238E27FC236}">
                <a16:creationId xmlns:a16="http://schemas.microsoft.com/office/drawing/2014/main" id="{08FC9FAE-9819-4BA4-9948-97BA66B1C290}"/>
              </a:ext>
            </a:extLst>
          </p:cNvPr>
          <p:cNvSpPr>
            <a:spLocks noChangeArrowheads="1"/>
          </p:cNvSpPr>
          <p:nvPr/>
        </p:nvSpPr>
        <p:spPr bwMode="auto">
          <a:xfrm>
            <a:off x="2759525" y="4737838"/>
            <a:ext cx="150812" cy="149225"/>
          </a:xfrm>
          <a:prstGeom prst="ellipse">
            <a:avLst/>
          </a:prstGeom>
          <a:solidFill>
            <a:srgbClr val="00A3E0"/>
          </a:solidFill>
          <a:ln w="9525">
            <a:solidFill>
              <a:srgbClr val="00A3E0"/>
            </a:solidFill>
            <a:round/>
          </a:ln>
        </p:spPr>
        <p:txBody>
          <a:bodyPr anchor="ctr"/>
          <a:lstStyle/>
          <a:p>
            <a:pPr algn="ctr" eaLnBrk="1" hangingPunct="1"/>
            <a:endParaRPr lang="zh-CN" altLang="en-US">
              <a:solidFill>
                <a:schemeClr val="bg1"/>
              </a:solidFill>
            </a:endParaRPr>
          </a:p>
        </p:txBody>
      </p:sp>
      <p:cxnSp>
        <p:nvCxnSpPr>
          <p:cNvPr id="22" name="直接连接符 21">
            <a:extLst>
              <a:ext uri="{FF2B5EF4-FFF2-40B4-BE49-F238E27FC236}">
                <a16:creationId xmlns:a16="http://schemas.microsoft.com/office/drawing/2014/main" id="{1DB6E5F8-30D9-4605-DB67-1D6EE860B542}"/>
              </a:ext>
            </a:extLst>
          </p:cNvPr>
          <p:cNvCxnSpPr>
            <a:cxnSpLocks noChangeShapeType="1"/>
          </p:cNvCxnSpPr>
          <p:nvPr/>
        </p:nvCxnSpPr>
        <p:spPr bwMode="auto">
          <a:xfrm>
            <a:off x="7941131" y="3870866"/>
            <a:ext cx="950526" cy="0"/>
          </a:xfrm>
          <a:prstGeom prst="line">
            <a:avLst/>
          </a:prstGeom>
          <a:solidFill>
            <a:srgbClr val="00ABAB"/>
          </a:solidFill>
          <a:ln w="15875">
            <a:solidFill>
              <a:srgbClr val="004F59"/>
            </a:solidFill>
            <a:round/>
          </a:ln>
        </p:spPr>
      </p:cxnSp>
      <p:sp>
        <p:nvSpPr>
          <p:cNvPr id="23" name="椭圆 28">
            <a:extLst>
              <a:ext uri="{FF2B5EF4-FFF2-40B4-BE49-F238E27FC236}">
                <a16:creationId xmlns:a16="http://schemas.microsoft.com/office/drawing/2014/main" id="{8F7577F8-18BC-917E-A1B2-BF355FD9AEF4}"/>
              </a:ext>
            </a:extLst>
          </p:cNvPr>
          <p:cNvSpPr>
            <a:spLocks noChangeArrowheads="1"/>
          </p:cNvSpPr>
          <p:nvPr/>
        </p:nvSpPr>
        <p:spPr bwMode="auto">
          <a:xfrm>
            <a:off x="8879732" y="3775119"/>
            <a:ext cx="150812" cy="149225"/>
          </a:xfrm>
          <a:prstGeom prst="ellipse">
            <a:avLst/>
          </a:prstGeom>
          <a:solidFill>
            <a:srgbClr val="004F59"/>
          </a:solidFill>
          <a:ln w="9525">
            <a:solidFill>
              <a:srgbClr val="004F59"/>
            </a:solidFill>
            <a:round/>
          </a:ln>
        </p:spPr>
        <p:txBody>
          <a:bodyPr anchor="ctr"/>
          <a:lstStyle/>
          <a:p>
            <a:pPr algn="ctr" eaLnBrk="1" hangingPunct="1"/>
            <a:endParaRPr lang="zh-CN" altLang="en-US">
              <a:solidFill>
                <a:schemeClr val="bg1"/>
              </a:solidFill>
            </a:endParaRPr>
          </a:p>
        </p:txBody>
      </p:sp>
      <p:sp>
        <p:nvSpPr>
          <p:cNvPr id="28" name="文本框 43">
            <a:extLst>
              <a:ext uri="{FF2B5EF4-FFF2-40B4-BE49-F238E27FC236}">
                <a16:creationId xmlns:a16="http://schemas.microsoft.com/office/drawing/2014/main" id="{AABB6965-FA87-70A6-539D-AD8D36DFB762}"/>
              </a:ext>
            </a:extLst>
          </p:cNvPr>
          <p:cNvSpPr txBox="1">
            <a:spLocks noChangeArrowheads="1"/>
          </p:cNvSpPr>
          <p:nvPr/>
        </p:nvSpPr>
        <p:spPr bwMode="auto">
          <a:xfrm>
            <a:off x="9131634" y="3244388"/>
            <a:ext cx="295275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marL="285750" indent="-285750">
              <a:buFont typeface="Arial" panose="020B0604020202020204" pitchFamily="34" charset="0"/>
              <a:buChar char="•"/>
            </a:pPr>
            <a:r>
              <a:rPr lang="en-US" altLang="zh-CN" sz="1600" dirty="0">
                <a:solidFill>
                  <a:schemeClr val="bg1"/>
                </a:solidFill>
                <a:latin typeface="+mn-lt"/>
              </a:rPr>
              <a:t>Identify</a:t>
            </a:r>
          </a:p>
          <a:p>
            <a:pPr marL="285750" indent="-285750">
              <a:buFont typeface="Arial" panose="020B0604020202020204" pitchFamily="34" charset="0"/>
              <a:buChar char="•"/>
            </a:pPr>
            <a:r>
              <a:rPr lang="en-US" altLang="zh-CN" sz="1600" dirty="0">
                <a:solidFill>
                  <a:schemeClr val="bg1"/>
                </a:solidFill>
                <a:latin typeface="+mn-lt"/>
              </a:rPr>
              <a:t>Verify</a:t>
            </a:r>
          </a:p>
          <a:p>
            <a:pPr marL="285750" indent="-285750">
              <a:buFont typeface="Arial" panose="020B0604020202020204" pitchFamily="34" charset="0"/>
              <a:buChar char="•"/>
            </a:pPr>
            <a:r>
              <a:rPr lang="en-US" altLang="zh-CN" sz="1600" dirty="0">
                <a:solidFill>
                  <a:schemeClr val="bg1"/>
                </a:solidFill>
                <a:latin typeface="+mn-lt"/>
              </a:rPr>
              <a:t>Communicate</a:t>
            </a:r>
          </a:p>
          <a:p>
            <a:pPr marL="285750" indent="-285750">
              <a:buFont typeface="Arial" panose="020B0604020202020204" pitchFamily="34" charset="0"/>
              <a:buChar char="•"/>
            </a:pPr>
            <a:r>
              <a:rPr lang="en-US" altLang="zh-CN" sz="1600" dirty="0">
                <a:solidFill>
                  <a:schemeClr val="bg1"/>
                </a:solidFill>
                <a:latin typeface="+mn-lt"/>
              </a:rPr>
              <a:t>Workflow</a:t>
            </a:r>
          </a:p>
          <a:p>
            <a:pPr marL="285750" indent="-285750">
              <a:buFont typeface="Arial" panose="020B0604020202020204" pitchFamily="34" charset="0"/>
              <a:buChar char="•"/>
            </a:pPr>
            <a:r>
              <a:rPr lang="en-US" altLang="zh-CN" sz="1600" dirty="0">
                <a:solidFill>
                  <a:schemeClr val="bg1"/>
                </a:solidFill>
                <a:latin typeface="+mn-lt"/>
              </a:rPr>
              <a:t>Report</a:t>
            </a:r>
          </a:p>
          <a:p>
            <a:pPr marL="285750" indent="-285750">
              <a:buFont typeface="Arial" panose="020B0604020202020204" pitchFamily="34" charset="0"/>
              <a:buChar char="•"/>
            </a:pPr>
            <a:r>
              <a:rPr lang="en-US" altLang="zh-CN" sz="1600" dirty="0">
                <a:solidFill>
                  <a:schemeClr val="bg1"/>
                </a:solidFill>
                <a:latin typeface="+mn-lt"/>
              </a:rPr>
              <a:t>Audit</a:t>
            </a:r>
            <a:endParaRPr lang="zh-CN" altLang="en-US" sz="1600">
              <a:solidFill>
                <a:schemeClr val="bg1"/>
              </a:solidFill>
              <a:latin typeface="+mn-lt"/>
              <a:ea typeface="微软雅黑" panose="020B0503020204020204" pitchFamily="34" charset="-122"/>
            </a:endParaRPr>
          </a:p>
        </p:txBody>
      </p:sp>
      <p:sp>
        <p:nvSpPr>
          <p:cNvPr id="30" name="椭圆 11">
            <a:extLst>
              <a:ext uri="{FF2B5EF4-FFF2-40B4-BE49-F238E27FC236}">
                <a16:creationId xmlns:a16="http://schemas.microsoft.com/office/drawing/2014/main" id="{F68BBE7F-3105-2A74-1B2E-00176F3C9885}"/>
              </a:ext>
            </a:extLst>
          </p:cNvPr>
          <p:cNvSpPr>
            <a:spLocks noChangeArrowheads="1"/>
          </p:cNvSpPr>
          <p:nvPr/>
        </p:nvSpPr>
        <p:spPr bwMode="auto">
          <a:xfrm>
            <a:off x="6037313" y="3217531"/>
            <a:ext cx="1663841" cy="1284884"/>
          </a:xfrm>
          <a:prstGeom prst="hexagon">
            <a:avLst>
              <a:gd name="adj" fmla="val 24988"/>
              <a:gd name="vf" fmla="val 115470"/>
            </a:avLst>
          </a:prstGeom>
          <a:noFill/>
          <a:ln w="34925">
            <a:solidFill>
              <a:srgbClr val="004F59"/>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31" name="椭圆 12">
            <a:extLst>
              <a:ext uri="{FF2B5EF4-FFF2-40B4-BE49-F238E27FC236}">
                <a16:creationId xmlns:a16="http://schemas.microsoft.com/office/drawing/2014/main" id="{36D40FB2-8F7B-60E9-DFA2-104B1D0FEC82}"/>
              </a:ext>
            </a:extLst>
          </p:cNvPr>
          <p:cNvSpPr>
            <a:spLocks noChangeArrowheads="1"/>
          </p:cNvSpPr>
          <p:nvPr/>
        </p:nvSpPr>
        <p:spPr bwMode="auto">
          <a:xfrm>
            <a:off x="5797336" y="2974594"/>
            <a:ext cx="2143795" cy="1798859"/>
          </a:xfrm>
          <a:prstGeom prst="hexagon">
            <a:avLst>
              <a:gd name="adj" fmla="val 24992"/>
              <a:gd name="vf" fmla="val 115470"/>
            </a:avLst>
          </a:prstGeom>
          <a:noFill/>
          <a:ln w="22225">
            <a:solidFill>
              <a:srgbClr val="004F59"/>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32" name="文本框 17">
            <a:extLst>
              <a:ext uri="{FF2B5EF4-FFF2-40B4-BE49-F238E27FC236}">
                <a16:creationId xmlns:a16="http://schemas.microsoft.com/office/drawing/2014/main" id="{489D9CA2-9F5B-2AB9-0CA3-AB62FB86D01D}"/>
              </a:ext>
            </a:extLst>
          </p:cNvPr>
          <p:cNvSpPr txBox="1">
            <a:spLocks noChangeArrowheads="1"/>
          </p:cNvSpPr>
          <p:nvPr/>
        </p:nvSpPr>
        <p:spPr bwMode="auto">
          <a:xfrm>
            <a:off x="6091628" y="3689663"/>
            <a:ext cx="1549851" cy="300171"/>
          </a:xfrm>
          <a:prstGeom prst="rect">
            <a:avLst/>
          </a:prstGeom>
          <a:noFill/>
          <a:ln w="9525">
            <a:noFill/>
            <a:miter lim="800000"/>
            <a:headEnd/>
            <a:tailEnd/>
          </a:ln>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1600" dirty="0">
                <a:solidFill>
                  <a:schemeClr val="bg1"/>
                </a:solidFill>
                <a:latin typeface="+mn-ea"/>
                <a:ea typeface="+mn-ea"/>
              </a:rPr>
              <a:t>Requirements</a:t>
            </a:r>
            <a:endParaRPr lang="zh-CN" altLang="en-US" sz="1600">
              <a:solidFill>
                <a:schemeClr val="bg1"/>
              </a:solidFill>
              <a:latin typeface="+mn-ea"/>
              <a:ea typeface="+mn-ea"/>
            </a:endParaRPr>
          </a:p>
        </p:txBody>
      </p:sp>
      <p:sp>
        <p:nvSpPr>
          <p:cNvPr id="34" name="椭圆 15">
            <a:extLst>
              <a:ext uri="{FF2B5EF4-FFF2-40B4-BE49-F238E27FC236}">
                <a16:creationId xmlns:a16="http://schemas.microsoft.com/office/drawing/2014/main" id="{6EA33344-5806-6BA3-6FF0-D331EA7956AD}"/>
              </a:ext>
            </a:extLst>
          </p:cNvPr>
          <p:cNvSpPr>
            <a:spLocks noChangeArrowheads="1"/>
          </p:cNvSpPr>
          <p:nvPr/>
        </p:nvSpPr>
        <p:spPr bwMode="auto">
          <a:xfrm>
            <a:off x="3902864" y="3904403"/>
            <a:ext cx="2143795" cy="1798858"/>
          </a:xfrm>
          <a:prstGeom prst="hexagon">
            <a:avLst>
              <a:gd name="adj" fmla="val 25003"/>
              <a:gd name="vf" fmla="val 115470"/>
            </a:avLst>
          </a:prstGeom>
          <a:noFill/>
          <a:ln w="22225">
            <a:solidFill>
              <a:srgbClr val="00A3E0"/>
            </a:solidFill>
            <a:prstDash val="lgDash"/>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35" name="椭圆 11">
            <a:extLst>
              <a:ext uri="{FF2B5EF4-FFF2-40B4-BE49-F238E27FC236}">
                <a16:creationId xmlns:a16="http://schemas.microsoft.com/office/drawing/2014/main" id="{A6DD269B-AA05-D210-E601-91CD63D3175B}"/>
              </a:ext>
            </a:extLst>
          </p:cNvPr>
          <p:cNvSpPr>
            <a:spLocks noChangeArrowheads="1"/>
          </p:cNvSpPr>
          <p:nvPr/>
        </p:nvSpPr>
        <p:spPr bwMode="auto">
          <a:xfrm>
            <a:off x="4132848" y="4139496"/>
            <a:ext cx="1708465" cy="1321862"/>
          </a:xfrm>
          <a:prstGeom prst="hexagon">
            <a:avLst>
              <a:gd name="adj" fmla="val 24951"/>
              <a:gd name="vf" fmla="val 115470"/>
            </a:avLst>
          </a:prstGeom>
          <a:noFill/>
          <a:ln w="34925">
            <a:solidFill>
              <a:srgbClr val="00A3E0"/>
            </a:solidFill>
            <a:miter lim="800000"/>
          </a:ln>
          <a:extLst>
            <a:ext uri="{909E8E84-426E-40DD-AFC4-6F175D3DCCD1}">
              <a14:hiddenFill xmlns:a14="http://schemas.microsoft.com/office/drawing/2010/main">
                <a:solidFill>
                  <a:srgbClr val="FFFFFF"/>
                </a:solidFill>
              </a14:hiddenFill>
            </a:ext>
          </a:extLst>
        </p:spPr>
        <p:txBody>
          <a:bodyPr anchor="ctr"/>
          <a:lstStyle/>
          <a:p>
            <a:pPr algn="ctr" eaLnBrk="1" hangingPunct="1"/>
            <a:endParaRPr lang="zh-CN" altLang="en-US">
              <a:solidFill>
                <a:schemeClr val="bg1"/>
              </a:solidFill>
            </a:endParaRPr>
          </a:p>
        </p:txBody>
      </p:sp>
      <p:sp>
        <p:nvSpPr>
          <p:cNvPr id="36" name="文本框 17">
            <a:extLst>
              <a:ext uri="{FF2B5EF4-FFF2-40B4-BE49-F238E27FC236}">
                <a16:creationId xmlns:a16="http://schemas.microsoft.com/office/drawing/2014/main" id="{197CCDDD-4CAA-4BC7-A20A-820B2E6643A3}"/>
              </a:ext>
            </a:extLst>
          </p:cNvPr>
          <p:cNvSpPr txBox="1">
            <a:spLocks noChangeArrowheads="1"/>
          </p:cNvSpPr>
          <p:nvPr/>
        </p:nvSpPr>
        <p:spPr bwMode="auto">
          <a:xfrm>
            <a:off x="4169383" y="4620759"/>
            <a:ext cx="1591418" cy="53260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en-US" altLang="zh-CN" sz="1600" dirty="0">
                <a:solidFill>
                  <a:schemeClr val="bg1"/>
                </a:solidFill>
                <a:latin typeface="+mn-ea"/>
                <a:ea typeface="+mn-ea"/>
              </a:rPr>
              <a:t>Ingredients for success</a:t>
            </a:r>
            <a:endParaRPr lang="zh-CN" altLang="en-US" sz="1600">
              <a:solidFill>
                <a:schemeClr val="bg1"/>
              </a:solidFill>
              <a:latin typeface="+mn-ea"/>
              <a:ea typeface="+mn-ea"/>
            </a:endParaRPr>
          </a:p>
        </p:txBody>
      </p:sp>
    </p:spTree>
    <p:extLst>
      <p:ext uri="{BB962C8B-B14F-4D97-AF65-F5344CB8AC3E}">
        <p14:creationId xmlns:p14="http://schemas.microsoft.com/office/powerpoint/2010/main" val="2872811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3" grpId="0" animBg="1"/>
      <p:bldP spid="4" grpId="0" animBg="1"/>
      <p:bldP spid="10" grpId="0"/>
      <p:bldP spid="13" grpId="0" animBg="1"/>
      <p:bldP spid="14" grpId="0"/>
      <p:bldP spid="17" grpId="0" animBg="1"/>
      <p:bldP spid="23" grpId="0" animBg="1"/>
      <p:bldP spid="28" grpId="0"/>
      <p:bldP spid="30" grpId="0" animBg="1"/>
      <p:bldP spid="31" grpId="0" animBg="1"/>
      <p:bldP spid="32" grpId="0"/>
      <p:bldP spid="34" grpId="0" animBg="1"/>
      <p:bldP spid="35" grpId="0" animBg="1"/>
      <p:bldP spid="3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a:extLst>
              <a:ext uri="{FF2B5EF4-FFF2-40B4-BE49-F238E27FC236}">
                <a16:creationId xmlns:a16="http://schemas.microsoft.com/office/drawing/2014/main" id="{087D6F55-EDA6-F88F-6DD5-868B92DBC022}"/>
              </a:ext>
            </a:extLst>
          </p:cNvPr>
          <p:cNvSpPr txBox="1"/>
          <p:nvPr/>
        </p:nvSpPr>
        <p:spPr>
          <a:xfrm>
            <a:off x="430550" y="323577"/>
            <a:ext cx="7248633" cy="461665"/>
          </a:xfrm>
          <a:prstGeom prst="rect">
            <a:avLst/>
          </a:prstGeom>
          <a:noFill/>
        </p:spPr>
        <p:txBody>
          <a:bodyPr wrap="square" rtlCol="0">
            <a:spAutoFit/>
          </a:bodyPr>
          <a:lstStyle/>
          <a:p>
            <a:r>
              <a:rPr lang="en-NZ" sz="2400" dirty="0">
                <a:solidFill>
                  <a:schemeClr val="bg1"/>
                </a:solidFill>
              </a:rPr>
              <a:t>Remediation | </a:t>
            </a:r>
            <a:r>
              <a:rPr lang="en-NZ" sz="2400" b="1" dirty="0">
                <a:solidFill>
                  <a:schemeClr val="bg1"/>
                </a:solidFill>
              </a:rPr>
              <a:t>Refunding customers / employees</a:t>
            </a:r>
          </a:p>
        </p:txBody>
      </p:sp>
      <p:sp>
        <p:nvSpPr>
          <p:cNvPr id="11" name="Rectangle: Rounded Corners 10">
            <a:extLst>
              <a:ext uri="{FF2B5EF4-FFF2-40B4-BE49-F238E27FC236}">
                <a16:creationId xmlns:a16="http://schemas.microsoft.com/office/drawing/2014/main" id="{0447A41F-B065-B8EE-209A-ADB498707C62}"/>
              </a:ext>
            </a:extLst>
          </p:cNvPr>
          <p:cNvSpPr/>
          <p:nvPr/>
        </p:nvSpPr>
        <p:spPr>
          <a:xfrm>
            <a:off x="2038667" y="5744734"/>
            <a:ext cx="9210470" cy="328024"/>
          </a:xfrm>
          <a:prstGeom prst="round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nvGrpSpPr>
          <p:cNvPr id="119" name="Group 118">
            <a:extLst>
              <a:ext uri="{FF2B5EF4-FFF2-40B4-BE49-F238E27FC236}">
                <a16:creationId xmlns:a16="http://schemas.microsoft.com/office/drawing/2014/main" id="{F62EA340-184A-A518-04C8-D85640EBE3B5}"/>
              </a:ext>
            </a:extLst>
          </p:cNvPr>
          <p:cNvGrpSpPr/>
          <p:nvPr/>
        </p:nvGrpSpPr>
        <p:grpSpPr>
          <a:xfrm>
            <a:off x="407839" y="2458453"/>
            <a:ext cx="1160681" cy="1822018"/>
            <a:chOff x="595903" y="3367548"/>
            <a:chExt cx="1160681" cy="788088"/>
          </a:xfrm>
        </p:grpSpPr>
        <p:sp>
          <p:nvSpPr>
            <p:cNvPr id="2" name="Rectangle 1">
              <a:extLst>
                <a:ext uri="{FF2B5EF4-FFF2-40B4-BE49-F238E27FC236}">
                  <a16:creationId xmlns:a16="http://schemas.microsoft.com/office/drawing/2014/main" id="{2192A74E-CD55-5858-9D2E-8789960E11B9}"/>
                </a:ext>
              </a:extLst>
            </p:cNvPr>
            <p:cNvSpPr/>
            <p:nvPr/>
          </p:nvSpPr>
          <p:spPr>
            <a:xfrm>
              <a:off x="595903" y="3367548"/>
              <a:ext cx="1147863" cy="788088"/>
            </a:xfrm>
            <a:prstGeom prst="roundRect">
              <a:avLst/>
            </a:prstGeom>
            <a:solidFill>
              <a:srgbClr val="4BABE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3" name="TextBox 12">
              <a:extLst>
                <a:ext uri="{FF2B5EF4-FFF2-40B4-BE49-F238E27FC236}">
                  <a16:creationId xmlns:a16="http://schemas.microsoft.com/office/drawing/2014/main" id="{0DAE19B0-30F2-3DD0-9A08-92D7CD035AAB}"/>
                </a:ext>
              </a:extLst>
            </p:cNvPr>
            <p:cNvSpPr txBox="1"/>
            <p:nvPr/>
          </p:nvSpPr>
          <p:spPr>
            <a:xfrm>
              <a:off x="608721" y="3424050"/>
              <a:ext cx="1147863" cy="397674"/>
            </a:xfrm>
            <a:prstGeom prst="roundRect">
              <a:avLst/>
            </a:prstGeom>
            <a:noFill/>
          </p:spPr>
          <p:txBody>
            <a:bodyPr wrap="square" rtlCol="0">
              <a:spAutoFit/>
            </a:bodyPr>
            <a:lstStyle/>
            <a:p>
              <a:pPr algn="ctr"/>
              <a:r>
                <a:rPr lang="en-US" sz="1600" dirty="0"/>
                <a:t>Customer / Employee </a:t>
              </a:r>
              <a:endParaRPr lang="en-NZ" sz="1600" dirty="0"/>
            </a:p>
          </p:txBody>
        </p:sp>
      </p:grpSp>
      <p:grpSp>
        <p:nvGrpSpPr>
          <p:cNvPr id="121" name="Group 120">
            <a:extLst>
              <a:ext uri="{FF2B5EF4-FFF2-40B4-BE49-F238E27FC236}">
                <a16:creationId xmlns:a16="http://schemas.microsoft.com/office/drawing/2014/main" id="{A474AB8F-64F7-8E50-9430-9684211596EE}"/>
              </a:ext>
            </a:extLst>
          </p:cNvPr>
          <p:cNvGrpSpPr/>
          <p:nvPr/>
        </p:nvGrpSpPr>
        <p:grpSpPr>
          <a:xfrm>
            <a:off x="2685627" y="2458453"/>
            <a:ext cx="1464461" cy="437745"/>
            <a:chOff x="2682295" y="1607881"/>
            <a:chExt cx="1496056" cy="437745"/>
          </a:xfrm>
        </p:grpSpPr>
        <p:sp>
          <p:nvSpPr>
            <p:cNvPr id="3" name="Rectangle 2">
              <a:extLst>
                <a:ext uri="{FF2B5EF4-FFF2-40B4-BE49-F238E27FC236}">
                  <a16:creationId xmlns:a16="http://schemas.microsoft.com/office/drawing/2014/main" id="{7D61D8BB-67C0-9B60-B226-68E3D666D994}"/>
                </a:ext>
              </a:extLst>
            </p:cNvPr>
            <p:cNvSpPr/>
            <p:nvPr/>
          </p:nvSpPr>
          <p:spPr>
            <a:xfrm>
              <a:off x="2682295" y="1607881"/>
              <a:ext cx="1496056" cy="437745"/>
            </a:xfrm>
            <a:prstGeom prst="roundRect">
              <a:avLst/>
            </a:prstGeom>
            <a:solidFill>
              <a:srgbClr val="4BABE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4" name="TextBox 13">
              <a:extLst>
                <a:ext uri="{FF2B5EF4-FFF2-40B4-BE49-F238E27FC236}">
                  <a16:creationId xmlns:a16="http://schemas.microsoft.com/office/drawing/2014/main" id="{75DCE228-D528-3F2C-67F4-64E8C5F7BE91}"/>
                </a:ext>
              </a:extLst>
            </p:cNvPr>
            <p:cNvSpPr txBox="1"/>
            <p:nvPr/>
          </p:nvSpPr>
          <p:spPr>
            <a:xfrm>
              <a:off x="3021333" y="1640369"/>
              <a:ext cx="1147863" cy="374571"/>
            </a:xfrm>
            <a:prstGeom prst="roundRect">
              <a:avLst/>
            </a:prstGeom>
            <a:noFill/>
          </p:spPr>
          <p:txBody>
            <a:bodyPr wrap="square" rtlCol="0">
              <a:spAutoFit/>
            </a:bodyPr>
            <a:lstStyle/>
            <a:p>
              <a:r>
                <a:rPr lang="en-US" sz="1600" dirty="0"/>
                <a:t>Digital</a:t>
              </a:r>
              <a:endParaRPr lang="en-NZ" sz="1600" dirty="0"/>
            </a:p>
          </p:txBody>
        </p:sp>
      </p:grpSp>
      <p:sp>
        <p:nvSpPr>
          <p:cNvPr id="15" name="TextBox 14">
            <a:extLst>
              <a:ext uri="{FF2B5EF4-FFF2-40B4-BE49-F238E27FC236}">
                <a16:creationId xmlns:a16="http://schemas.microsoft.com/office/drawing/2014/main" id="{9E64E79D-2F1C-3D01-DE95-2DD805F6265F}"/>
              </a:ext>
            </a:extLst>
          </p:cNvPr>
          <p:cNvSpPr txBox="1"/>
          <p:nvPr/>
        </p:nvSpPr>
        <p:spPr>
          <a:xfrm>
            <a:off x="2684052" y="1767665"/>
            <a:ext cx="1488702" cy="374571"/>
          </a:xfrm>
          <a:prstGeom prst="roundRect">
            <a:avLst/>
          </a:prstGeom>
          <a:solidFill>
            <a:schemeClr val="bg1">
              <a:lumMod val="85000"/>
            </a:schemeClr>
          </a:solidFill>
        </p:spPr>
        <p:txBody>
          <a:bodyPr wrap="square" rtlCol="0">
            <a:spAutoFit/>
          </a:bodyPr>
          <a:lstStyle/>
          <a:p>
            <a:pPr algn="ctr"/>
            <a:r>
              <a:rPr lang="en-US" sz="1600" dirty="0"/>
              <a:t>Website</a:t>
            </a:r>
            <a:endParaRPr lang="en-NZ" sz="1600" dirty="0"/>
          </a:p>
        </p:txBody>
      </p:sp>
      <p:grpSp>
        <p:nvGrpSpPr>
          <p:cNvPr id="125" name="Group 124">
            <a:extLst>
              <a:ext uri="{FF2B5EF4-FFF2-40B4-BE49-F238E27FC236}">
                <a16:creationId xmlns:a16="http://schemas.microsoft.com/office/drawing/2014/main" id="{D05E08F2-E1E0-B6E3-530B-228616EA557F}"/>
              </a:ext>
            </a:extLst>
          </p:cNvPr>
          <p:cNvGrpSpPr/>
          <p:nvPr/>
        </p:nvGrpSpPr>
        <p:grpSpPr>
          <a:xfrm>
            <a:off x="9785140" y="3019344"/>
            <a:ext cx="1513913" cy="700235"/>
            <a:chOff x="8305278" y="4118462"/>
            <a:chExt cx="1513913" cy="700235"/>
          </a:xfrm>
          <a:solidFill>
            <a:schemeClr val="accent2">
              <a:lumMod val="60000"/>
              <a:lumOff val="40000"/>
            </a:schemeClr>
          </a:solidFill>
        </p:grpSpPr>
        <p:sp>
          <p:nvSpPr>
            <p:cNvPr id="10" name="Rectangle 9">
              <a:extLst>
                <a:ext uri="{FF2B5EF4-FFF2-40B4-BE49-F238E27FC236}">
                  <a16:creationId xmlns:a16="http://schemas.microsoft.com/office/drawing/2014/main" id="{E3CDE839-9E0D-45EA-E5AE-C3F706C753F9}"/>
                </a:ext>
              </a:extLst>
            </p:cNvPr>
            <p:cNvSpPr/>
            <p:nvPr/>
          </p:nvSpPr>
          <p:spPr>
            <a:xfrm>
              <a:off x="8305278" y="4118462"/>
              <a:ext cx="1513913" cy="673074"/>
            </a:xfrm>
            <a:prstGeom prst="roundRect">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6" name="TextBox 15">
              <a:extLst>
                <a:ext uri="{FF2B5EF4-FFF2-40B4-BE49-F238E27FC236}">
                  <a16:creationId xmlns:a16="http://schemas.microsoft.com/office/drawing/2014/main" id="{7B6119F9-D4DD-285F-8D8C-9F265FE4566D}"/>
                </a:ext>
              </a:extLst>
            </p:cNvPr>
            <p:cNvSpPr txBox="1"/>
            <p:nvPr/>
          </p:nvSpPr>
          <p:spPr>
            <a:xfrm>
              <a:off x="8305278" y="4171711"/>
              <a:ext cx="1435078" cy="646986"/>
            </a:xfrm>
            <a:prstGeom prst="roundRect">
              <a:avLst/>
            </a:prstGeom>
            <a:solidFill>
              <a:srgbClr val="86BC25"/>
            </a:solidFill>
          </p:spPr>
          <p:txBody>
            <a:bodyPr wrap="square" rtlCol="0">
              <a:spAutoFit/>
            </a:bodyPr>
            <a:lstStyle/>
            <a:p>
              <a:pPr algn="ctr"/>
              <a:r>
                <a:rPr lang="en-US" sz="1600" dirty="0"/>
                <a:t>Assessment team</a:t>
              </a:r>
              <a:endParaRPr lang="en-NZ" sz="1600" dirty="0"/>
            </a:p>
          </p:txBody>
        </p:sp>
      </p:grpSp>
      <p:sp>
        <p:nvSpPr>
          <p:cNvPr id="19" name="TextBox 18">
            <a:extLst>
              <a:ext uri="{FF2B5EF4-FFF2-40B4-BE49-F238E27FC236}">
                <a16:creationId xmlns:a16="http://schemas.microsoft.com/office/drawing/2014/main" id="{30ECA222-8767-9D69-675D-F7DD2D00BD40}"/>
              </a:ext>
            </a:extLst>
          </p:cNvPr>
          <p:cNvSpPr txBox="1"/>
          <p:nvPr/>
        </p:nvSpPr>
        <p:spPr>
          <a:xfrm>
            <a:off x="5109792" y="5721393"/>
            <a:ext cx="4323943" cy="338554"/>
          </a:xfrm>
          <a:prstGeom prst="rect">
            <a:avLst/>
          </a:prstGeom>
          <a:noFill/>
        </p:spPr>
        <p:txBody>
          <a:bodyPr wrap="square" rtlCol="0">
            <a:spAutoFit/>
          </a:bodyPr>
          <a:lstStyle/>
          <a:p>
            <a:r>
              <a:rPr lang="en-US" sz="1600" dirty="0"/>
              <a:t>Management and Governance</a:t>
            </a:r>
            <a:endParaRPr lang="en-NZ" sz="1600" dirty="0"/>
          </a:p>
        </p:txBody>
      </p:sp>
      <p:grpSp>
        <p:nvGrpSpPr>
          <p:cNvPr id="124" name="Group 123">
            <a:extLst>
              <a:ext uri="{FF2B5EF4-FFF2-40B4-BE49-F238E27FC236}">
                <a16:creationId xmlns:a16="http://schemas.microsoft.com/office/drawing/2014/main" id="{FA257E44-7C41-1CDA-27C0-90E898D05F38}"/>
              </a:ext>
            </a:extLst>
          </p:cNvPr>
          <p:cNvGrpSpPr/>
          <p:nvPr/>
        </p:nvGrpSpPr>
        <p:grpSpPr>
          <a:xfrm>
            <a:off x="6711637" y="1700195"/>
            <a:ext cx="1852213" cy="3162423"/>
            <a:chOff x="5324637" y="1607881"/>
            <a:chExt cx="1852213" cy="3162423"/>
          </a:xfrm>
        </p:grpSpPr>
        <p:sp>
          <p:nvSpPr>
            <p:cNvPr id="6" name="Rectangle 5">
              <a:extLst>
                <a:ext uri="{FF2B5EF4-FFF2-40B4-BE49-F238E27FC236}">
                  <a16:creationId xmlns:a16="http://schemas.microsoft.com/office/drawing/2014/main" id="{F4ADC3D7-BF6A-C5F5-9E93-92A0C5A38FDB}"/>
                </a:ext>
              </a:extLst>
            </p:cNvPr>
            <p:cNvSpPr/>
            <p:nvPr/>
          </p:nvSpPr>
          <p:spPr>
            <a:xfrm>
              <a:off x="5324637" y="1607881"/>
              <a:ext cx="1852213" cy="3162423"/>
            </a:xfrm>
            <a:prstGeom prst="round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32" name="TextBox 31">
              <a:extLst>
                <a:ext uri="{FF2B5EF4-FFF2-40B4-BE49-F238E27FC236}">
                  <a16:creationId xmlns:a16="http://schemas.microsoft.com/office/drawing/2014/main" id="{2B5DCAFE-A396-6F3B-46C8-2DB6E8544174}"/>
                </a:ext>
              </a:extLst>
            </p:cNvPr>
            <p:cNvSpPr txBox="1"/>
            <p:nvPr/>
          </p:nvSpPr>
          <p:spPr>
            <a:xfrm>
              <a:off x="5406114" y="2090702"/>
              <a:ext cx="1647931" cy="1721465"/>
            </a:xfrm>
            <a:prstGeom prst="roundRect">
              <a:avLst/>
            </a:prstGeom>
            <a:noFill/>
          </p:spPr>
          <p:txBody>
            <a:bodyPr wrap="square" rtlCol="0">
              <a:spAutoFit/>
            </a:bodyPr>
            <a:lstStyle/>
            <a:p>
              <a:r>
                <a:rPr lang="en-US" sz="1600" b="1" dirty="0"/>
                <a:t>Digital solution</a:t>
              </a:r>
            </a:p>
            <a:p>
              <a:endParaRPr lang="en-US" sz="1600" dirty="0"/>
            </a:p>
            <a:p>
              <a:pPr marL="263525" indent="-263525">
                <a:buAutoNum type="arabicPeriod"/>
              </a:pPr>
              <a:r>
                <a:rPr lang="en-US" sz="1600" dirty="0"/>
                <a:t>Submission</a:t>
              </a:r>
            </a:p>
            <a:p>
              <a:pPr marL="263525" indent="-263525">
                <a:buAutoNum type="arabicPeriod"/>
              </a:pPr>
              <a:r>
                <a:rPr lang="en-US" sz="1600" dirty="0"/>
                <a:t>Triage</a:t>
              </a:r>
            </a:p>
            <a:p>
              <a:pPr marL="263525" indent="-263525">
                <a:buAutoNum type="arabicPeriod"/>
              </a:pPr>
              <a:r>
                <a:rPr lang="en-US" sz="1600" dirty="0"/>
                <a:t>Assessment</a:t>
              </a:r>
            </a:p>
            <a:p>
              <a:pPr marL="263525" indent="-263525">
                <a:buAutoNum type="arabicPeriod"/>
              </a:pPr>
              <a:r>
                <a:rPr lang="en-US" sz="1600" dirty="0"/>
                <a:t>Resolution</a:t>
              </a:r>
              <a:endParaRPr lang="en-NZ" sz="1600" dirty="0"/>
            </a:p>
          </p:txBody>
        </p:sp>
      </p:grpSp>
      <p:cxnSp>
        <p:nvCxnSpPr>
          <p:cNvPr id="49" name="Straight Arrow Connector 48">
            <a:extLst>
              <a:ext uri="{FF2B5EF4-FFF2-40B4-BE49-F238E27FC236}">
                <a16:creationId xmlns:a16="http://schemas.microsoft.com/office/drawing/2014/main" id="{CF4D7E56-78EF-15C8-5B4C-DB20A06FAF0E}"/>
              </a:ext>
            </a:extLst>
          </p:cNvPr>
          <p:cNvCxnSpPr>
            <a:cxnSpLocks/>
          </p:cNvCxnSpPr>
          <p:nvPr/>
        </p:nvCxnSpPr>
        <p:spPr>
          <a:xfrm>
            <a:off x="7558486" y="4862618"/>
            <a:ext cx="0" cy="740433"/>
          </a:xfrm>
          <a:prstGeom prst="straightConnector1">
            <a:avLst/>
          </a:prstGeom>
          <a:ln>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FCB40AA7-738C-556E-A525-A9D8EA997C3B}"/>
              </a:ext>
            </a:extLst>
          </p:cNvPr>
          <p:cNvSpPr txBox="1"/>
          <p:nvPr/>
        </p:nvSpPr>
        <p:spPr>
          <a:xfrm>
            <a:off x="7951272" y="5018297"/>
            <a:ext cx="2551407" cy="584775"/>
          </a:xfrm>
          <a:prstGeom prst="rect">
            <a:avLst/>
          </a:prstGeom>
          <a:noFill/>
        </p:spPr>
        <p:txBody>
          <a:bodyPr wrap="square" rtlCol="0">
            <a:spAutoFit/>
          </a:bodyPr>
          <a:lstStyle/>
          <a:p>
            <a:r>
              <a:rPr lang="en-US" sz="1600" dirty="0">
                <a:solidFill>
                  <a:schemeClr val="bg1"/>
                </a:solidFill>
              </a:rPr>
              <a:t>Reporting/dashboards</a:t>
            </a:r>
          </a:p>
          <a:p>
            <a:r>
              <a:rPr lang="en-US" sz="1600" dirty="0">
                <a:solidFill>
                  <a:schemeClr val="bg1"/>
                </a:solidFill>
              </a:rPr>
              <a:t>Audit history</a:t>
            </a:r>
            <a:endParaRPr lang="en-NZ" sz="1600" dirty="0">
              <a:solidFill>
                <a:schemeClr val="bg1"/>
              </a:solidFill>
            </a:endParaRPr>
          </a:p>
        </p:txBody>
      </p:sp>
      <p:sp>
        <p:nvSpPr>
          <p:cNvPr id="81" name="TextBox 80">
            <a:extLst>
              <a:ext uri="{FF2B5EF4-FFF2-40B4-BE49-F238E27FC236}">
                <a16:creationId xmlns:a16="http://schemas.microsoft.com/office/drawing/2014/main" id="{B1BF9EAA-6E54-1C83-2D3E-388EB44CC0D1}"/>
              </a:ext>
            </a:extLst>
          </p:cNvPr>
          <p:cNvSpPr txBox="1"/>
          <p:nvPr/>
        </p:nvSpPr>
        <p:spPr>
          <a:xfrm>
            <a:off x="2441754" y="4391646"/>
            <a:ext cx="2551407" cy="338554"/>
          </a:xfrm>
          <a:prstGeom prst="rect">
            <a:avLst/>
          </a:prstGeom>
          <a:noFill/>
        </p:spPr>
        <p:txBody>
          <a:bodyPr wrap="square" rtlCol="0">
            <a:spAutoFit/>
          </a:bodyPr>
          <a:lstStyle/>
          <a:p>
            <a:r>
              <a:rPr lang="en-US" sz="1600" dirty="0">
                <a:solidFill>
                  <a:schemeClr val="bg1"/>
                </a:solidFill>
              </a:rPr>
              <a:t>Comms and documents</a:t>
            </a:r>
            <a:endParaRPr lang="en-NZ" sz="1600" dirty="0">
              <a:solidFill>
                <a:schemeClr val="bg1"/>
              </a:solidFill>
            </a:endParaRPr>
          </a:p>
        </p:txBody>
      </p:sp>
      <p:grpSp>
        <p:nvGrpSpPr>
          <p:cNvPr id="123" name="Group 122">
            <a:extLst>
              <a:ext uri="{FF2B5EF4-FFF2-40B4-BE49-F238E27FC236}">
                <a16:creationId xmlns:a16="http://schemas.microsoft.com/office/drawing/2014/main" id="{228B94B8-CCF9-8767-DBB3-71A5F82DEBB2}"/>
              </a:ext>
            </a:extLst>
          </p:cNvPr>
          <p:cNvGrpSpPr/>
          <p:nvPr/>
        </p:nvGrpSpPr>
        <p:grpSpPr>
          <a:xfrm>
            <a:off x="2696948" y="3139701"/>
            <a:ext cx="1468420" cy="437745"/>
            <a:chOff x="2682297" y="2856472"/>
            <a:chExt cx="1468420" cy="437745"/>
          </a:xfrm>
        </p:grpSpPr>
        <p:sp>
          <p:nvSpPr>
            <p:cNvPr id="82" name="Rectangle 81">
              <a:extLst>
                <a:ext uri="{FF2B5EF4-FFF2-40B4-BE49-F238E27FC236}">
                  <a16:creationId xmlns:a16="http://schemas.microsoft.com/office/drawing/2014/main" id="{CB2B81E9-8689-C5C4-326F-F85D79A0F83F}"/>
                </a:ext>
              </a:extLst>
            </p:cNvPr>
            <p:cNvSpPr/>
            <p:nvPr/>
          </p:nvSpPr>
          <p:spPr>
            <a:xfrm>
              <a:off x="2682297" y="2856472"/>
              <a:ext cx="1453140" cy="437745"/>
            </a:xfrm>
            <a:prstGeom prst="roundRect">
              <a:avLst/>
            </a:prstGeom>
            <a:solidFill>
              <a:srgbClr val="4BABE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83" name="TextBox 82">
              <a:extLst>
                <a:ext uri="{FF2B5EF4-FFF2-40B4-BE49-F238E27FC236}">
                  <a16:creationId xmlns:a16="http://schemas.microsoft.com/office/drawing/2014/main" id="{7DD21725-C822-1A92-10F0-3AC20CAA778A}"/>
                </a:ext>
              </a:extLst>
            </p:cNvPr>
            <p:cNvSpPr txBox="1"/>
            <p:nvPr/>
          </p:nvSpPr>
          <p:spPr>
            <a:xfrm>
              <a:off x="3002854" y="2905054"/>
              <a:ext cx="1147863" cy="374571"/>
            </a:xfrm>
            <a:prstGeom prst="roundRect">
              <a:avLst/>
            </a:prstGeom>
            <a:noFill/>
          </p:spPr>
          <p:txBody>
            <a:bodyPr wrap="square" rtlCol="0">
              <a:spAutoFit/>
            </a:bodyPr>
            <a:lstStyle/>
            <a:p>
              <a:r>
                <a:rPr lang="en-US" sz="1600" dirty="0"/>
                <a:t>Phone</a:t>
              </a:r>
              <a:endParaRPr lang="en-NZ" sz="1600" dirty="0"/>
            </a:p>
          </p:txBody>
        </p:sp>
      </p:grpSp>
      <p:cxnSp>
        <p:nvCxnSpPr>
          <p:cNvPr id="97" name="Straight Arrow Connector 96">
            <a:extLst>
              <a:ext uri="{FF2B5EF4-FFF2-40B4-BE49-F238E27FC236}">
                <a16:creationId xmlns:a16="http://schemas.microsoft.com/office/drawing/2014/main" id="{E1D40D0D-064A-60EE-A1E3-6C5503BA485D}"/>
              </a:ext>
            </a:extLst>
          </p:cNvPr>
          <p:cNvCxnSpPr>
            <a:cxnSpLocks/>
          </p:cNvCxnSpPr>
          <p:nvPr/>
        </p:nvCxnSpPr>
        <p:spPr>
          <a:xfrm>
            <a:off x="4129768" y="1959626"/>
            <a:ext cx="2493814" cy="501"/>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6A014FA5-1CEE-B876-4E92-CF092BE26836}"/>
              </a:ext>
            </a:extLst>
          </p:cNvPr>
          <p:cNvCxnSpPr>
            <a:cxnSpLocks/>
          </p:cNvCxnSpPr>
          <p:nvPr/>
        </p:nvCxnSpPr>
        <p:spPr>
          <a:xfrm flipH="1">
            <a:off x="1599021" y="3345583"/>
            <a:ext cx="1097927" cy="0"/>
          </a:xfrm>
          <a:prstGeom prst="straightConnector1">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FF214D1B-D98A-D389-95A0-103F2789A5FD}"/>
              </a:ext>
            </a:extLst>
          </p:cNvPr>
          <p:cNvSpPr/>
          <p:nvPr/>
        </p:nvSpPr>
        <p:spPr>
          <a:xfrm>
            <a:off x="407839" y="785242"/>
            <a:ext cx="7061597" cy="328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r>
              <a:rPr lang="en-NZ" sz="1800" dirty="0">
                <a:solidFill>
                  <a:schemeClr val="bg1">
                    <a:lumMod val="85000"/>
                  </a:schemeClr>
                </a:solidFill>
              </a:rPr>
              <a:t>Workflow and digital solution</a:t>
            </a:r>
          </a:p>
        </p:txBody>
      </p:sp>
      <p:grpSp>
        <p:nvGrpSpPr>
          <p:cNvPr id="12" name="Group 11">
            <a:extLst>
              <a:ext uri="{FF2B5EF4-FFF2-40B4-BE49-F238E27FC236}">
                <a16:creationId xmlns:a16="http://schemas.microsoft.com/office/drawing/2014/main" id="{6F68D39A-4BAA-CEC8-3632-47892A6E8249}"/>
              </a:ext>
            </a:extLst>
          </p:cNvPr>
          <p:cNvGrpSpPr/>
          <p:nvPr/>
        </p:nvGrpSpPr>
        <p:grpSpPr>
          <a:xfrm>
            <a:off x="2706718" y="3844069"/>
            <a:ext cx="1573794" cy="437745"/>
            <a:chOff x="2682298" y="2214902"/>
            <a:chExt cx="1573794" cy="437745"/>
          </a:xfrm>
        </p:grpSpPr>
        <p:sp>
          <p:nvSpPr>
            <p:cNvPr id="17" name="Rectangle 16">
              <a:extLst>
                <a:ext uri="{FF2B5EF4-FFF2-40B4-BE49-F238E27FC236}">
                  <a16:creationId xmlns:a16="http://schemas.microsoft.com/office/drawing/2014/main" id="{EAA7BC19-F253-DAC6-8B8B-35ACC606BBA0}"/>
                </a:ext>
              </a:extLst>
            </p:cNvPr>
            <p:cNvSpPr/>
            <p:nvPr/>
          </p:nvSpPr>
          <p:spPr>
            <a:xfrm>
              <a:off x="2682298" y="2214902"/>
              <a:ext cx="1443370" cy="437745"/>
            </a:xfrm>
            <a:prstGeom prst="roundRect">
              <a:avLst/>
            </a:prstGeom>
            <a:solidFill>
              <a:srgbClr val="4BABE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8" name="TextBox 17">
              <a:extLst>
                <a:ext uri="{FF2B5EF4-FFF2-40B4-BE49-F238E27FC236}">
                  <a16:creationId xmlns:a16="http://schemas.microsoft.com/office/drawing/2014/main" id="{AB2E97DF-41A7-222E-52E4-5F83C5B37578}"/>
                </a:ext>
              </a:extLst>
            </p:cNvPr>
            <p:cNvSpPr txBox="1"/>
            <p:nvPr/>
          </p:nvSpPr>
          <p:spPr>
            <a:xfrm>
              <a:off x="2853698" y="2268413"/>
              <a:ext cx="1402394" cy="374571"/>
            </a:xfrm>
            <a:prstGeom prst="roundRect">
              <a:avLst/>
            </a:prstGeom>
            <a:noFill/>
          </p:spPr>
          <p:txBody>
            <a:bodyPr wrap="square" rtlCol="0">
              <a:spAutoFit/>
            </a:bodyPr>
            <a:lstStyle/>
            <a:p>
              <a:r>
                <a:rPr lang="en-US" sz="1600" dirty="0"/>
                <a:t>In person</a:t>
              </a:r>
              <a:endParaRPr lang="en-NZ" sz="1600" dirty="0"/>
            </a:p>
          </p:txBody>
        </p:sp>
      </p:grpSp>
      <p:cxnSp>
        <p:nvCxnSpPr>
          <p:cNvPr id="21" name="Straight Arrow Connector 20">
            <a:extLst>
              <a:ext uri="{FF2B5EF4-FFF2-40B4-BE49-F238E27FC236}">
                <a16:creationId xmlns:a16="http://schemas.microsoft.com/office/drawing/2014/main" id="{1C88CC0B-8220-B507-A9A6-292DB2D0C0EA}"/>
              </a:ext>
            </a:extLst>
          </p:cNvPr>
          <p:cNvCxnSpPr>
            <a:cxnSpLocks/>
          </p:cNvCxnSpPr>
          <p:nvPr/>
        </p:nvCxnSpPr>
        <p:spPr>
          <a:xfrm flipH="1">
            <a:off x="1596697" y="4047980"/>
            <a:ext cx="1126104" cy="1343"/>
          </a:xfrm>
          <a:prstGeom prst="straightConnector1">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32F0EFB-D995-83A1-EA2F-7E2FA8CBBBD2}"/>
              </a:ext>
            </a:extLst>
          </p:cNvPr>
          <p:cNvCxnSpPr>
            <a:cxnSpLocks/>
          </p:cNvCxnSpPr>
          <p:nvPr/>
        </p:nvCxnSpPr>
        <p:spPr>
          <a:xfrm flipH="1">
            <a:off x="1607126" y="2702271"/>
            <a:ext cx="1076926" cy="0"/>
          </a:xfrm>
          <a:prstGeom prst="straightConnector1">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8A062B89-2F5F-22FB-5A9E-59BA13C23624}"/>
              </a:ext>
            </a:extLst>
          </p:cNvPr>
          <p:cNvCxnSpPr>
            <a:cxnSpLocks/>
          </p:cNvCxnSpPr>
          <p:nvPr/>
        </p:nvCxnSpPr>
        <p:spPr>
          <a:xfrm>
            <a:off x="8602185" y="3344408"/>
            <a:ext cx="1144620" cy="1"/>
          </a:xfrm>
          <a:prstGeom prst="straightConnector1">
            <a:avLst/>
          </a:prstGeom>
          <a:ln>
            <a:solidFill>
              <a:schemeClr val="bg1">
                <a:lumMod val="75000"/>
              </a:schemeClr>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F8461D54-807F-6118-14B4-6DA1E79C7CEA}"/>
              </a:ext>
            </a:extLst>
          </p:cNvPr>
          <p:cNvCxnSpPr>
            <a:cxnSpLocks/>
            <a:stCxn id="2" idx="0"/>
          </p:cNvCxnSpPr>
          <p:nvPr/>
        </p:nvCxnSpPr>
        <p:spPr>
          <a:xfrm rot="5400000" flipH="1" flipV="1">
            <a:off x="1580019" y="1377085"/>
            <a:ext cx="483121" cy="1679617"/>
          </a:xfrm>
          <a:prstGeom prst="bentConnector2">
            <a:avLst/>
          </a:prstGeom>
          <a:ln w="28575">
            <a:solidFill>
              <a:schemeClr val="bg1">
                <a:lumMod val="9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9E600DC6-F9DB-A0D9-B11D-24DAA757A8F3}"/>
              </a:ext>
            </a:extLst>
          </p:cNvPr>
          <p:cNvCxnSpPr>
            <a:cxnSpLocks/>
          </p:cNvCxnSpPr>
          <p:nvPr/>
        </p:nvCxnSpPr>
        <p:spPr>
          <a:xfrm>
            <a:off x="4141126" y="2708707"/>
            <a:ext cx="2431125" cy="7220"/>
          </a:xfrm>
          <a:prstGeom prst="straightConnector1">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63AB01A-58B1-07DE-4193-75328596CC89}"/>
              </a:ext>
            </a:extLst>
          </p:cNvPr>
          <p:cNvCxnSpPr>
            <a:cxnSpLocks/>
          </p:cNvCxnSpPr>
          <p:nvPr/>
        </p:nvCxnSpPr>
        <p:spPr>
          <a:xfrm>
            <a:off x="4172754" y="3346178"/>
            <a:ext cx="2431125" cy="7407"/>
          </a:xfrm>
          <a:prstGeom prst="straightConnector1">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AABA4A78-0690-541E-61F9-C894BB03A1A1}"/>
              </a:ext>
            </a:extLst>
          </p:cNvPr>
          <p:cNvGrpSpPr/>
          <p:nvPr/>
        </p:nvGrpSpPr>
        <p:grpSpPr>
          <a:xfrm>
            <a:off x="4871642" y="2922982"/>
            <a:ext cx="1291629" cy="845201"/>
            <a:chOff x="5324637" y="1607881"/>
            <a:chExt cx="1852213" cy="3162423"/>
          </a:xfrm>
        </p:grpSpPr>
        <p:sp>
          <p:nvSpPr>
            <p:cNvPr id="8" name="Rectangle: Rounded Corners 7">
              <a:extLst>
                <a:ext uri="{FF2B5EF4-FFF2-40B4-BE49-F238E27FC236}">
                  <a16:creationId xmlns:a16="http://schemas.microsoft.com/office/drawing/2014/main" id="{1A6CEAB1-68FF-213C-AAC9-65C0EF940347}"/>
                </a:ext>
              </a:extLst>
            </p:cNvPr>
            <p:cNvSpPr/>
            <p:nvPr/>
          </p:nvSpPr>
          <p:spPr>
            <a:xfrm>
              <a:off x="5324637" y="1607881"/>
              <a:ext cx="1852213" cy="3162423"/>
            </a:xfrm>
            <a:prstGeom prst="round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9" name="TextBox 8">
              <a:extLst>
                <a:ext uri="{FF2B5EF4-FFF2-40B4-BE49-F238E27FC236}">
                  <a16:creationId xmlns:a16="http://schemas.microsoft.com/office/drawing/2014/main" id="{076148AC-F44E-5DF9-B3CE-4223A50FB5F3}"/>
                </a:ext>
              </a:extLst>
            </p:cNvPr>
            <p:cNvSpPr txBox="1"/>
            <p:nvPr/>
          </p:nvSpPr>
          <p:spPr>
            <a:xfrm>
              <a:off x="5406112" y="2090700"/>
              <a:ext cx="1601650" cy="2188008"/>
            </a:xfrm>
            <a:prstGeom prst="rect">
              <a:avLst/>
            </a:prstGeom>
            <a:noFill/>
          </p:spPr>
          <p:txBody>
            <a:bodyPr wrap="square" rtlCol="0">
              <a:spAutoFit/>
            </a:bodyPr>
            <a:lstStyle/>
            <a:p>
              <a:pPr algn="ctr"/>
              <a:r>
                <a:rPr lang="en-US" sz="1600" dirty="0"/>
                <a:t>Telephony solution</a:t>
              </a:r>
              <a:endParaRPr lang="en-NZ" sz="1600" dirty="0"/>
            </a:p>
          </p:txBody>
        </p:sp>
      </p:grpSp>
      <p:cxnSp>
        <p:nvCxnSpPr>
          <p:cNvPr id="39" name="Straight Arrow Connector 38">
            <a:extLst>
              <a:ext uri="{FF2B5EF4-FFF2-40B4-BE49-F238E27FC236}">
                <a16:creationId xmlns:a16="http://schemas.microsoft.com/office/drawing/2014/main" id="{A142D4BE-5734-1342-5CDD-1DD9B37EFF34}"/>
              </a:ext>
            </a:extLst>
          </p:cNvPr>
          <p:cNvCxnSpPr>
            <a:cxnSpLocks/>
          </p:cNvCxnSpPr>
          <p:nvPr/>
        </p:nvCxnSpPr>
        <p:spPr>
          <a:xfrm>
            <a:off x="4192457" y="4029350"/>
            <a:ext cx="2431125" cy="7220"/>
          </a:xfrm>
          <a:prstGeom prst="straightConnector1">
            <a:avLst/>
          </a:prstGeom>
          <a:ln>
            <a:solidFill>
              <a:schemeClr val="bg1">
                <a:lumMod val="8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8953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2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9"/>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4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5" grpId="0" animBg="1"/>
      <p:bldP spid="19" grpId="0"/>
      <p:bldP spid="79" grpId="0"/>
      <p:bldP spid="8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505F85-3D42-0670-6F18-AA1B31AFA62D}"/>
              </a:ext>
            </a:extLst>
          </p:cNvPr>
          <p:cNvSpPr txBox="1"/>
          <p:nvPr/>
        </p:nvSpPr>
        <p:spPr>
          <a:xfrm>
            <a:off x="430550" y="323577"/>
            <a:ext cx="7248633" cy="461665"/>
          </a:xfrm>
          <a:prstGeom prst="rect">
            <a:avLst/>
          </a:prstGeom>
          <a:noFill/>
        </p:spPr>
        <p:txBody>
          <a:bodyPr wrap="square" rtlCol="0">
            <a:spAutoFit/>
          </a:bodyPr>
          <a:lstStyle/>
          <a:p>
            <a:r>
              <a:rPr lang="en-NZ" sz="2400" dirty="0">
                <a:solidFill>
                  <a:schemeClr val="bg1"/>
                </a:solidFill>
              </a:rPr>
              <a:t>Remediation lifecycle | </a:t>
            </a:r>
            <a:r>
              <a:rPr lang="en-NZ" sz="2400" b="1" dirty="0">
                <a:solidFill>
                  <a:schemeClr val="bg1"/>
                </a:solidFill>
              </a:rPr>
              <a:t>Prevention</a:t>
            </a:r>
          </a:p>
        </p:txBody>
      </p:sp>
      <p:sp>
        <p:nvSpPr>
          <p:cNvPr id="2" name="Rectangle 1">
            <a:extLst>
              <a:ext uri="{FF2B5EF4-FFF2-40B4-BE49-F238E27FC236}">
                <a16:creationId xmlns:a16="http://schemas.microsoft.com/office/drawing/2014/main" id="{A4D6D490-4810-0886-0168-465490969EA7}"/>
              </a:ext>
            </a:extLst>
          </p:cNvPr>
          <p:cNvSpPr/>
          <p:nvPr/>
        </p:nvSpPr>
        <p:spPr>
          <a:xfrm>
            <a:off x="407839" y="785242"/>
            <a:ext cx="4212249" cy="328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r>
              <a:rPr lang="en-NZ" dirty="0">
                <a:solidFill>
                  <a:schemeClr val="bg1">
                    <a:lumMod val="85000"/>
                  </a:schemeClr>
                </a:solidFill>
              </a:rPr>
              <a:t>Future proof to address systematic issues</a:t>
            </a:r>
          </a:p>
        </p:txBody>
      </p:sp>
      <p:sp>
        <p:nvSpPr>
          <p:cNvPr id="4" name="TextBox 3">
            <a:extLst>
              <a:ext uri="{FF2B5EF4-FFF2-40B4-BE49-F238E27FC236}">
                <a16:creationId xmlns:a16="http://schemas.microsoft.com/office/drawing/2014/main" id="{7412921E-B75D-8227-E15B-C67F9C548AB7}"/>
              </a:ext>
            </a:extLst>
          </p:cNvPr>
          <p:cNvSpPr txBox="1"/>
          <p:nvPr/>
        </p:nvSpPr>
        <p:spPr>
          <a:xfrm>
            <a:off x="4099442" y="5745092"/>
            <a:ext cx="2288103" cy="200055"/>
          </a:xfrm>
          <a:prstGeom prst="rect">
            <a:avLst/>
          </a:prstGeom>
          <a:noFill/>
        </p:spPr>
        <p:txBody>
          <a:bodyPr wrap="square" lIns="0" tIns="0" rIns="0" bIns="0" rtlCol="0">
            <a:spAutoFit/>
          </a:bodyPr>
          <a:lstStyle/>
          <a:p>
            <a:pPr>
              <a:spcBef>
                <a:spcPts val="600"/>
              </a:spcBef>
              <a:buSzPct val="100000"/>
            </a:pPr>
            <a:r>
              <a:rPr lang="en-GB" sz="1300" dirty="0">
                <a:solidFill>
                  <a:schemeClr val="bg1"/>
                </a:solidFill>
              </a:rPr>
              <a:t>Operating model</a:t>
            </a:r>
          </a:p>
        </p:txBody>
      </p:sp>
      <p:sp>
        <p:nvSpPr>
          <p:cNvPr id="5" name="TextBox 4">
            <a:extLst>
              <a:ext uri="{FF2B5EF4-FFF2-40B4-BE49-F238E27FC236}">
                <a16:creationId xmlns:a16="http://schemas.microsoft.com/office/drawing/2014/main" id="{52B190F9-56D2-2454-77A8-BCADE7A54C20}"/>
              </a:ext>
            </a:extLst>
          </p:cNvPr>
          <p:cNvSpPr txBox="1"/>
          <p:nvPr/>
        </p:nvSpPr>
        <p:spPr>
          <a:xfrm>
            <a:off x="7024334" y="5745092"/>
            <a:ext cx="1948712" cy="200055"/>
          </a:xfrm>
          <a:prstGeom prst="rect">
            <a:avLst/>
          </a:prstGeom>
          <a:noFill/>
        </p:spPr>
        <p:txBody>
          <a:bodyPr wrap="square" lIns="0" tIns="0" rIns="0" bIns="0" rtlCol="0">
            <a:spAutoFit/>
          </a:bodyPr>
          <a:lstStyle/>
          <a:p>
            <a:pPr>
              <a:spcBef>
                <a:spcPts val="600"/>
              </a:spcBef>
              <a:buSzPct val="100000"/>
            </a:pPr>
            <a:r>
              <a:rPr lang="en-GB" sz="1300" dirty="0">
                <a:solidFill>
                  <a:schemeClr val="bg1"/>
                </a:solidFill>
              </a:rPr>
              <a:t>System, People, Processes</a:t>
            </a:r>
          </a:p>
        </p:txBody>
      </p:sp>
      <p:sp>
        <p:nvSpPr>
          <p:cNvPr id="8" name="TextBox 7">
            <a:extLst>
              <a:ext uri="{FF2B5EF4-FFF2-40B4-BE49-F238E27FC236}">
                <a16:creationId xmlns:a16="http://schemas.microsoft.com/office/drawing/2014/main" id="{F83A70F0-6AC1-23DD-397C-DB12220CB65F}"/>
              </a:ext>
            </a:extLst>
          </p:cNvPr>
          <p:cNvSpPr txBox="1"/>
          <p:nvPr/>
        </p:nvSpPr>
        <p:spPr>
          <a:xfrm>
            <a:off x="10333503" y="5745092"/>
            <a:ext cx="2288103" cy="200055"/>
          </a:xfrm>
          <a:prstGeom prst="rect">
            <a:avLst/>
          </a:prstGeom>
          <a:noFill/>
        </p:spPr>
        <p:txBody>
          <a:bodyPr wrap="square" lIns="0" tIns="0" rIns="0" bIns="0" rtlCol="0">
            <a:spAutoFit/>
          </a:bodyPr>
          <a:lstStyle/>
          <a:p>
            <a:pPr>
              <a:spcBef>
                <a:spcPts val="600"/>
              </a:spcBef>
              <a:buSzPct val="100000"/>
            </a:pPr>
            <a:r>
              <a:rPr lang="en-GB" sz="1300" dirty="0">
                <a:solidFill>
                  <a:schemeClr val="bg1"/>
                </a:solidFill>
              </a:rPr>
              <a:t>Controls</a:t>
            </a:r>
          </a:p>
        </p:txBody>
      </p:sp>
      <p:sp>
        <p:nvSpPr>
          <p:cNvPr id="10" name="TextBox 9">
            <a:extLst>
              <a:ext uri="{FF2B5EF4-FFF2-40B4-BE49-F238E27FC236}">
                <a16:creationId xmlns:a16="http://schemas.microsoft.com/office/drawing/2014/main" id="{FA56A9BC-9498-5E7C-2F23-B6AC5FE47883}"/>
              </a:ext>
            </a:extLst>
          </p:cNvPr>
          <p:cNvSpPr txBox="1"/>
          <p:nvPr/>
        </p:nvSpPr>
        <p:spPr>
          <a:xfrm>
            <a:off x="1451809" y="5745092"/>
            <a:ext cx="2317452" cy="200055"/>
          </a:xfrm>
          <a:prstGeom prst="rect">
            <a:avLst/>
          </a:prstGeom>
          <a:noFill/>
        </p:spPr>
        <p:txBody>
          <a:bodyPr wrap="square" lIns="0" tIns="0" rIns="0" bIns="0" rtlCol="0">
            <a:spAutoFit/>
          </a:bodyPr>
          <a:lstStyle/>
          <a:p>
            <a:pPr>
              <a:spcBef>
                <a:spcPts val="600"/>
              </a:spcBef>
              <a:buSzPct val="100000"/>
            </a:pPr>
            <a:r>
              <a:rPr lang="en-GB" sz="1300" dirty="0">
                <a:solidFill>
                  <a:schemeClr val="bg1"/>
                </a:solidFill>
              </a:rPr>
              <a:t>Governance</a:t>
            </a:r>
          </a:p>
        </p:txBody>
      </p:sp>
      <p:sp>
        <p:nvSpPr>
          <p:cNvPr id="12" name="Rectangle 11">
            <a:extLst>
              <a:ext uri="{FF2B5EF4-FFF2-40B4-BE49-F238E27FC236}">
                <a16:creationId xmlns:a16="http://schemas.microsoft.com/office/drawing/2014/main" id="{07E6E4CB-B5EA-1C81-973E-D365AFA12C94}"/>
              </a:ext>
            </a:extLst>
          </p:cNvPr>
          <p:cNvSpPr/>
          <p:nvPr/>
        </p:nvSpPr>
        <p:spPr>
          <a:xfrm>
            <a:off x="430550" y="5133861"/>
            <a:ext cx="11387135" cy="1091576"/>
          </a:xfrm>
          <a:prstGeom prst="rect">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3" name="TextBox 12">
            <a:extLst>
              <a:ext uri="{FF2B5EF4-FFF2-40B4-BE49-F238E27FC236}">
                <a16:creationId xmlns:a16="http://schemas.microsoft.com/office/drawing/2014/main" id="{EAC9A2BD-7EA6-8EF5-A2A6-F5E5CB372EB5}"/>
              </a:ext>
            </a:extLst>
          </p:cNvPr>
          <p:cNvSpPr txBox="1"/>
          <p:nvPr/>
        </p:nvSpPr>
        <p:spPr>
          <a:xfrm>
            <a:off x="4816756" y="5007149"/>
            <a:ext cx="2207578" cy="266492"/>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defPPr>
              <a:defRPr lang="en-US"/>
            </a:defPPr>
            <a:lvl1pPr algn="ctr">
              <a:defRPr sz="1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600" dirty="0"/>
              <a:t>Business environment</a:t>
            </a:r>
          </a:p>
        </p:txBody>
      </p:sp>
      <p:grpSp>
        <p:nvGrpSpPr>
          <p:cNvPr id="14" name="Graphic 4">
            <a:extLst>
              <a:ext uri="{FF2B5EF4-FFF2-40B4-BE49-F238E27FC236}">
                <a16:creationId xmlns:a16="http://schemas.microsoft.com/office/drawing/2014/main" id="{07A0EEA3-392F-51F4-D218-F3A4BF48F847}"/>
              </a:ext>
            </a:extLst>
          </p:cNvPr>
          <p:cNvGrpSpPr/>
          <p:nvPr/>
        </p:nvGrpSpPr>
        <p:grpSpPr>
          <a:xfrm>
            <a:off x="1046109" y="5703818"/>
            <a:ext cx="296345" cy="282602"/>
            <a:chOff x="467743" y="4793256"/>
            <a:chExt cx="361670" cy="361971"/>
          </a:xfrm>
          <a:solidFill>
            <a:srgbClr val="007680"/>
          </a:solidFill>
        </p:grpSpPr>
        <p:sp>
          <p:nvSpPr>
            <p:cNvPr id="15" name="Graphic 4">
              <a:extLst>
                <a:ext uri="{FF2B5EF4-FFF2-40B4-BE49-F238E27FC236}">
                  <a16:creationId xmlns:a16="http://schemas.microsoft.com/office/drawing/2014/main" id="{4A217411-49DE-046C-99A9-577063E40813}"/>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6" name="Graphic 4">
              <a:extLst>
                <a:ext uri="{FF2B5EF4-FFF2-40B4-BE49-F238E27FC236}">
                  <a16:creationId xmlns:a16="http://schemas.microsoft.com/office/drawing/2014/main" id="{D677DBA5-1851-AC23-FB8A-CABAF5A3207B}"/>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38" name="Graphic 4">
            <a:extLst>
              <a:ext uri="{FF2B5EF4-FFF2-40B4-BE49-F238E27FC236}">
                <a16:creationId xmlns:a16="http://schemas.microsoft.com/office/drawing/2014/main" id="{FEA0D696-2C8B-81D3-0C97-AD5EB9CC6A21}"/>
              </a:ext>
            </a:extLst>
          </p:cNvPr>
          <p:cNvGrpSpPr/>
          <p:nvPr/>
        </p:nvGrpSpPr>
        <p:grpSpPr>
          <a:xfrm>
            <a:off x="3672257" y="5703818"/>
            <a:ext cx="296345" cy="282602"/>
            <a:chOff x="467743" y="4793256"/>
            <a:chExt cx="361670" cy="361971"/>
          </a:xfrm>
          <a:solidFill>
            <a:srgbClr val="007680"/>
          </a:solidFill>
        </p:grpSpPr>
        <p:sp>
          <p:nvSpPr>
            <p:cNvPr id="39" name="Graphic 4">
              <a:extLst>
                <a:ext uri="{FF2B5EF4-FFF2-40B4-BE49-F238E27FC236}">
                  <a16:creationId xmlns:a16="http://schemas.microsoft.com/office/drawing/2014/main" id="{2F97827E-08A6-66C8-C0B0-96B95C127B44}"/>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0" name="Graphic 4">
              <a:extLst>
                <a:ext uri="{FF2B5EF4-FFF2-40B4-BE49-F238E27FC236}">
                  <a16:creationId xmlns:a16="http://schemas.microsoft.com/office/drawing/2014/main" id="{AE725BEF-DDBB-9C58-EA07-0798F6458863}"/>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41" name="Graphic 4">
            <a:extLst>
              <a:ext uri="{FF2B5EF4-FFF2-40B4-BE49-F238E27FC236}">
                <a16:creationId xmlns:a16="http://schemas.microsoft.com/office/drawing/2014/main" id="{B6D6FF34-7C88-5C6D-F1C6-AE3E3B93E61D}"/>
              </a:ext>
            </a:extLst>
          </p:cNvPr>
          <p:cNvGrpSpPr/>
          <p:nvPr/>
        </p:nvGrpSpPr>
        <p:grpSpPr>
          <a:xfrm>
            <a:off x="6600547" y="5703818"/>
            <a:ext cx="296345" cy="282602"/>
            <a:chOff x="467743" y="4793256"/>
            <a:chExt cx="361670" cy="361971"/>
          </a:xfrm>
          <a:solidFill>
            <a:srgbClr val="007680"/>
          </a:solidFill>
        </p:grpSpPr>
        <p:sp>
          <p:nvSpPr>
            <p:cNvPr id="42" name="Graphic 4">
              <a:extLst>
                <a:ext uri="{FF2B5EF4-FFF2-40B4-BE49-F238E27FC236}">
                  <a16:creationId xmlns:a16="http://schemas.microsoft.com/office/drawing/2014/main" id="{A591C0C9-77EB-94D5-1EC8-BEF816C4AFDA}"/>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3" name="Graphic 4">
              <a:extLst>
                <a:ext uri="{FF2B5EF4-FFF2-40B4-BE49-F238E27FC236}">
                  <a16:creationId xmlns:a16="http://schemas.microsoft.com/office/drawing/2014/main" id="{1C581443-765F-C98F-9DA2-03049379C068}"/>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44" name="Graphic 4">
            <a:extLst>
              <a:ext uri="{FF2B5EF4-FFF2-40B4-BE49-F238E27FC236}">
                <a16:creationId xmlns:a16="http://schemas.microsoft.com/office/drawing/2014/main" id="{9090C375-7738-6E18-B558-543B2D36CAE4}"/>
              </a:ext>
            </a:extLst>
          </p:cNvPr>
          <p:cNvGrpSpPr/>
          <p:nvPr/>
        </p:nvGrpSpPr>
        <p:grpSpPr>
          <a:xfrm>
            <a:off x="9894597" y="5703818"/>
            <a:ext cx="296345" cy="282602"/>
            <a:chOff x="467743" y="4793256"/>
            <a:chExt cx="361670" cy="361971"/>
          </a:xfrm>
          <a:solidFill>
            <a:srgbClr val="007680"/>
          </a:solidFill>
        </p:grpSpPr>
        <p:sp>
          <p:nvSpPr>
            <p:cNvPr id="45" name="Graphic 4">
              <a:extLst>
                <a:ext uri="{FF2B5EF4-FFF2-40B4-BE49-F238E27FC236}">
                  <a16:creationId xmlns:a16="http://schemas.microsoft.com/office/drawing/2014/main" id="{54BA3ABA-EC4D-0D22-25E7-62DB3EAF1428}"/>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6" name="Graphic 4">
              <a:extLst>
                <a:ext uri="{FF2B5EF4-FFF2-40B4-BE49-F238E27FC236}">
                  <a16:creationId xmlns:a16="http://schemas.microsoft.com/office/drawing/2014/main" id="{FA54716E-11D5-D61E-C001-8584D9A39C06}"/>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18" name="Group 17">
            <a:extLst>
              <a:ext uri="{FF2B5EF4-FFF2-40B4-BE49-F238E27FC236}">
                <a16:creationId xmlns:a16="http://schemas.microsoft.com/office/drawing/2014/main" id="{E0AA4F0D-5DC4-FAA2-F802-2534247A6900}"/>
              </a:ext>
            </a:extLst>
          </p:cNvPr>
          <p:cNvGrpSpPr/>
          <p:nvPr/>
        </p:nvGrpSpPr>
        <p:grpSpPr>
          <a:xfrm>
            <a:off x="944135" y="1935394"/>
            <a:ext cx="10272540" cy="2138971"/>
            <a:chOff x="1965325" y="1266944"/>
            <a:chExt cx="7731158" cy="1671783"/>
          </a:xfrm>
        </p:grpSpPr>
        <p:grpSp>
          <p:nvGrpSpPr>
            <p:cNvPr id="24" name="Group 23">
              <a:extLst>
                <a:ext uri="{FF2B5EF4-FFF2-40B4-BE49-F238E27FC236}">
                  <a16:creationId xmlns:a16="http://schemas.microsoft.com/office/drawing/2014/main" id="{F45D0454-68F0-3DAD-5B62-022D85272381}"/>
                </a:ext>
              </a:extLst>
            </p:cNvPr>
            <p:cNvGrpSpPr/>
            <p:nvPr/>
          </p:nvGrpSpPr>
          <p:grpSpPr>
            <a:xfrm>
              <a:off x="1965325" y="1266944"/>
              <a:ext cx="7731158" cy="1671783"/>
              <a:chOff x="1117600" y="1958738"/>
              <a:chExt cx="7731158" cy="1671783"/>
            </a:xfrm>
          </p:grpSpPr>
          <p:sp>
            <p:nvSpPr>
              <p:cNvPr id="25" name="Arc 24">
                <a:extLst>
                  <a:ext uri="{FF2B5EF4-FFF2-40B4-BE49-F238E27FC236}">
                    <a16:creationId xmlns:a16="http://schemas.microsoft.com/office/drawing/2014/main" id="{E81842CB-CBA9-51E6-FE5C-A7F47F7B4321}"/>
                  </a:ext>
                </a:extLst>
              </p:cNvPr>
              <p:cNvSpPr/>
              <p:nvPr/>
            </p:nvSpPr>
            <p:spPr>
              <a:xfrm rot="5074366">
                <a:off x="4147288" y="1958739"/>
                <a:ext cx="1671782" cy="1671782"/>
              </a:xfrm>
              <a:prstGeom prst="arc">
                <a:avLst>
                  <a:gd name="adj1" fmla="val 7056037"/>
                  <a:gd name="adj2" fmla="val 14055003"/>
                </a:avLst>
              </a:prstGeom>
              <a:noFill/>
              <a:ln w="9525" cap="flat" cmpd="sng" algn="ctr">
                <a:solidFill>
                  <a:sysClr val="window" lastClr="FFFFFF">
                    <a:lumMod val="65000"/>
                  </a:sysClr>
                </a:solidFill>
                <a:prstDash val="solid"/>
                <a:headEnd type="none"/>
                <a:tailEnd type="arrow"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26" name="Arc 25">
                <a:extLst>
                  <a:ext uri="{FF2B5EF4-FFF2-40B4-BE49-F238E27FC236}">
                    <a16:creationId xmlns:a16="http://schemas.microsoft.com/office/drawing/2014/main" id="{F040D304-BD12-7269-6129-53E0FA2C1759}"/>
                  </a:ext>
                </a:extLst>
              </p:cNvPr>
              <p:cNvSpPr/>
              <p:nvPr/>
            </p:nvSpPr>
            <p:spPr>
              <a:xfrm rot="5074366">
                <a:off x="5672895" y="1958739"/>
                <a:ext cx="1671782" cy="1671782"/>
              </a:xfrm>
              <a:prstGeom prst="arc">
                <a:avLst>
                  <a:gd name="adj1" fmla="val 7056037"/>
                  <a:gd name="adj2" fmla="val 14055003"/>
                </a:avLst>
              </a:prstGeom>
              <a:noFill/>
              <a:ln w="9525" cap="flat" cmpd="sng" algn="ctr">
                <a:solidFill>
                  <a:sysClr val="window" lastClr="FFFFFF">
                    <a:lumMod val="65000"/>
                  </a:sysClr>
                </a:solidFill>
                <a:prstDash val="solid"/>
                <a:headEnd type="none"/>
                <a:tailEnd type="arrow"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27" name="Arc 26">
                <a:extLst>
                  <a:ext uri="{FF2B5EF4-FFF2-40B4-BE49-F238E27FC236}">
                    <a16:creationId xmlns:a16="http://schemas.microsoft.com/office/drawing/2014/main" id="{BC46C73F-2033-7AF2-D8FA-0BAE9B52DADC}"/>
                  </a:ext>
                </a:extLst>
              </p:cNvPr>
              <p:cNvSpPr/>
              <p:nvPr/>
            </p:nvSpPr>
            <p:spPr>
              <a:xfrm rot="5074366">
                <a:off x="7176976" y="1958738"/>
                <a:ext cx="1671782" cy="1671782"/>
              </a:xfrm>
              <a:prstGeom prst="arc">
                <a:avLst>
                  <a:gd name="adj1" fmla="val 7056037"/>
                  <a:gd name="adj2" fmla="val 4037342"/>
                </a:avLst>
              </a:prstGeom>
              <a:noFill/>
              <a:ln w="9525" cap="flat" cmpd="sng" algn="ctr">
                <a:solidFill>
                  <a:sysClr val="window" lastClr="FFFFFF">
                    <a:lumMod val="65000"/>
                  </a:sysClr>
                </a:solidFill>
                <a:prstDash val="solid"/>
                <a:headEnd type="none"/>
                <a:tailEnd type="none"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28" name="Arc 27">
                <a:extLst>
                  <a:ext uri="{FF2B5EF4-FFF2-40B4-BE49-F238E27FC236}">
                    <a16:creationId xmlns:a16="http://schemas.microsoft.com/office/drawing/2014/main" id="{559E3FBF-265A-8EC5-9D7F-D544B8BC7C9A}"/>
                  </a:ext>
                </a:extLst>
              </p:cNvPr>
              <p:cNvSpPr/>
              <p:nvPr/>
            </p:nvSpPr>
            <p:spPr>
              <a:xfrm rot="5074366">
                <a:off x="2632445" y="1958739"/>
                <a:ext cx="1671782" cy="1671782"/>
              </a:xfrm>
              <a:prstGeom prst="arc">
                <a:avLst>
                  <a:gd name="adj1" fmla="val 7056037"/>
                  <a:gd name="adj2" fmla="val 14055003"/>
                </a:avLst>
              </a:prstGeom>
              <a:noFill/>
              <a:ln w="9525" cap="flat" cmpd="sng" algn="ctr">
                <a:solidFill>
                  <a:sysClr val="window" lastClr="FFFFFF">
                    <a:lumMod val="65000"/>
                  </a:sysClr>
                </a:solidFill>
                <a:prstDash val="solid"/>
                <a:headEnd type="none"/>
                <a:tailEnd type="arrow"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29" name="Arc 28">
                <a:extLst>
                  <a:ext uri="{FF2B5EF4-FFF2-40B4-BE49-F238E27FC236}">
                    <a16:creationId xmlns:a16="http://schemas.microsoft.com/office/drawing/2014/main" id="{B50E620F-1133-903D-6629-4DC892CE61B6}"/>
                  </a:ext>
                </a:extLst>
              </p:cNvPr>
              <p:cNvSpPr/>
              <p:nvPr/>
            </p:nvSpPr>
            <p:spPr>
              <a:xfrm rot="5074366">
                <a:off x="2632445" y="1958739"/>
                <a:ext cx="1671782" cy="1671782"/>
              </a:xfrm>
              <a:prstGeom prst="arc">
                <a:avLst>
                  <a:gd name="adj1" fmla="val 17745980"/>
                  <a:gd name="adj2" fmla="val 4121998"/>
                </a:avLst>
              </a:prstGeom>
              <a:noFill/>
              <a:ln w="9525" cap="flat" cmpd="sng" algn="ctr">
                <a:solidFill>
                  <a:sysClr val="window" lastClr="FFFFFF">
                    <a:lumMod val="65000"/>
                  </a:sysClr>
                </a:solidFill>
                <a:prstDash val="solid"/>
                <a:headEnd type="none"/>
                <a:tailEnd type="none"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30" name="Oval 29">
                <a:extLst>
                  <a:ext uri="{FF2B5EF4-FFF2-40B4-BE49-F238E27FC236}">
                    <a16:creationId xmlns:a16="http://schemas.microsoft.com/office/drawing/2014/main" id="{3411CE84-8AD3-0D14-D416-28B2CCC2E6D8}"/>
                  </a:ext>
                </a:extLst>
              </p:cNvPr>
              <p:cNvSpPr/>
              <p:nvPr/>
            </p:nvSpPr>
            <p:spPr bwMode="gray">
              <a:xfrm>
                <a:off x="2784845" y="2111139"/>
                <a:ext cx="1366982" cy="1366982"/>
              </a:xfrm>
              <a:prstGeom prst="ellipse">
                <a:avLst/>
              </a:prstGeom>
              <a:solidFill>
                <a:srgbClr val="046A38"/>
              </a:solidFill>
              <a:ln w="120650" algn="ctr">
                <a:solidFill>
                  <a:srgbClr val="D0D0CE">
                    <a:alpha val="62000"/>
                  </a:srgb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latin typeface="Calibri Light"/>
                </a:endParaRPr>
              </a:p>
            </p:txBody>
          </p:sp>
          <p:sp>
            <p:nvSpPr>
              <p:cNvPr id="31" name="Arc 30">
                <a:extLst>
                  <a:ext uri="{FF2B5EF4-FFF2-40B4-BE49-F238E27FC236}">
                    <a16:creationId xmlns:a16="http://schemas.microsoft.com/office/drawing/2014/main" id="{AB238E1E-886A-3665-DFFA-D265F9F19A71}"/>
                  </a:ext>
                </a:extLst>
              </p:cNvPr>
              <p:cNvSpPr/>
              <p:nvPr/>
            </p:nvSpPr>
            <p:spPr>
              <a:xfrm rot="5074366">
                <a:off x="1117600" y="1958739"/>
                <a:ext cx="1671782" cy="1671782"/>
              </a:xfrm>
              <a:prstGeom prst="arc">
                <a:avLst>
                  <a:gd name="adj1" fmla="val 17745980"/>
                  <a:gd name="adj2" fmla="val 14055003"/>
                </a:avLst>
              </a:prstGeom>
              <a:noFill/>
              <a:ln w="9525" cap="flat" cmpd="sng" algn="ctr">
                <a:solidFill>
                  <a:sysClr val="window" lastClr="FFFFFF">
                    <a:lumMod val="65000"/>
                  </a:sysClr>
                </a:solidFill>
                <a:prstDash val="solid"/>
                <a:headEnd type="none"/>
                <a:tailEnd type="arrow"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32" name="Oval 31">
                <a:extLst>
                  <a:ext uri="{FF2B5EF4-FFF2-40B4-BE49-F238E27FC236}">
                    <a16:creationId xmlns:a16="http://schemas.microsoft.com/office/drawing/2014/main" id="{FB9CDBCA-9CEC-A9F7-6AD5-530EC28D3C46}"/>
                  </a:ext>
                </a:extLst>
              </p:cNvPr>
              <p:cNvSpPr/>
              <p:nvPr/>
            </p:nvSpPr>
            <p:spPr bwMode="gray">
              <a:xfrm>
                <a:off x="1270000" y="2111139"/>
                <a:ext cx="1366982" cy="1366982"/>
              </a:xfrm>
              <a:prstGeom prst="ellipse">
                <a:avLst/>
              </a:prstGeom>
              <a:solidFill>
                <a:srgbClr val="86BC25"/>
              </a:solidFill>
              <a:ln w="120650" algn="ctr">
                <a:solidFill>
                  <a:srgbClr val="D0D0CE">
                    <a:alpha val="62000"/>
                  </a:srgb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latin typeface="Calibri Light"/>
                </a:endParaRPr>
              </a:p>
            </p:txBody>
          </p:sp>
          <p:sp>
            <p:nvSpPr>
              <p:cNvPr id="33" name="Arc 32">
                <a:extLst>
                  <a:ext uri="{FF2B5EF4-FFF2-40B4-BE49-F238E27FC236}">
                    <a16:creationId xmlns:a16="http://schemas.microsoft.com/office/drawing/2014/main" id="{6C6D167E-C7EE-FC48-B40A-17F7FFC0208F}"/>
                  </a:ext>
                </a:extLst>
              </p:cNvPr>
              <p:cNvSpPr/>
              <p:nvPr/>
            </p:nvSpPr>
            <p:spPr>
              <a:xfrm rot="5074366">
                <a:off x="4147289" y="1958739"/>
                <a:ext cx="1671782" cy="1671782"/>
              </a:xfrm>
              <a:prstGeom prst="arc">
                <a:avLst>
                  <a:gd name="adj1" fmla="val 17745980"/>
                  <a:gd name="adj2" fmla="val 4106414"/>
                </a:avLst>
              </a:prstGeom>
              <a:noFill/>
              <a:ln w="9525" cap="flat" cmpd="sng" algn="ctr">
                <a:solidFill>
                  <a:sysClr val="window" lastClr="FFFFFF">
                    <a:lumMod val="65000"/>
                  </a:sysClr>
                </a:solidFill>
                <a:prstDash val="solid"/>
                <a:headEnd type="none"/>
                <a:tailEnd type="none"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34" name="Oval 33">
                <a:extLst>
                  <a:ext uri="{FF2B5EF4-FFF2-40B4-BE49-F238E27FC236}">
                    <a16:creationId xmlns:a16="http://schemas.microsoft.com/office/drawing/2014/main" id="{697A1321-1E4D-2174-C455-349D7FB88C3C}"/>
                  </a:ext>
                </a:extLst>
              </p:cNvPr>
              <p:cNvSpPr/>
              <p:nvPr/>
            </p:nvSpPr>
            <p:spPr bwMode="gray">
              <a:xfrm>
                <a:off x="4299689" y="2111139"/>
                <a:ext cx="1366982" cy="1366982"/>
              </a:xfrm>
              <a:prstGeom prst="ellipse">
                <a:avLst/>
              </a:prstGeom>
              <a:solidFill>
                <a:srgbClr val="43B02A"/>
              </a:solidFill>
              <a:ln w="120650" algn="ctr">
                <a:solidFill>
                  <a:srgbClr val="D0D0CE">
                    <a:alpha val="62000"/>
                  </a:srgb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latin typeface="Calibri Light"/>
                </a:endParaRPr>
              </a:p>
            </p:txBody>
          </p:sp>
          <p:sp>
            <p:nvSpPr>
              <p:cNvPr id="35" name="Oval 34">
                <a:extLst>
                  <a:ext uri="{FF2B5EF4-FFF2-40B4-BE49-F238E27FC236}">
                    <a16:creationId xmlns:a16="http://schemas.microsoft.com/office/drawing/2014/main" id="{0EFF876D-C68A-8BD1-33A4-446121F55627}"/>
                  </a:ext>
                </a:extLst>
              </p:cNvPr>
              <p:cNvSpPr/>
              <p:nvPr/>
            </p:nvSpPr>
            <p:spPr bwMode="gray">
              <a:xfrm>
                <a:off x="7329378" y="2111139"/>
                <a:ext cx="1366982" cy="1366982"/>
              </a:xfrm>
              <a:prstGeom prst="ellipse">
                <a:avLst/>
              </a:prstGeom>
              <a:solidFill>
                <a:srgbClr val="2C5234"/>
              </a:solidFill>
              <a:ln w="120650" algn="ctr">
                <a:solidFill>
                  <a:srgbClr val="D0D0CE">
                    <a:alpha val="62000"/>
                  </a:srgb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latin typeface="Calibri Light"/>
                </a:endParaRPr>
              </a:p>
            </p:txBody>
          </p:sp>
          <p:sp>
            <p:nvSpPr>
              <p:cNvPr id="36" name="Oval 35">
                <a:extLst>
                  <a:ext uri="{FF2B5EF4-FFF2-40B4-BE49-F238E27FC236}">
                    <a16:creationId xmlns:a16="http://schemas.microsoft.com/office/drawing/2014/main" id="{70A002DC-D9C3-628B-2177-439EEC02C572}"/>
                  </a:ext>
                </a:extLst>
              </p:cNvPr>
              <p:cNvSpPr/>
              <p:nvPr/>
            </p:nvSpPr>
            <p:spPr bwMode="gray">
              <a:xfrm>
                <a:off x="5814534" y="2111139"/>
                <a:ext cx="1366982" cy="1366982"/>
              </a:xfrm>
              <a:prstGeom prst="ellipse">
                <a:avLst/>
              </a:prstGeom>
              <a:solidFill>
                <a:srgbClr val="86BC25"/>
              </a:solidFill>
              <a:ln w="120650" algn="ctr">
                <a:solidFill>
                  <a:srgbClr val="D0D0CE">
                    <a:alpha val="62000"/>
                  </a:srgb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latin typeface="Calibri Light"/>
                </a:endParaRPr>
              </a:p>
            </p:txBody>
          </p:sp>
          <p:sp>
            <p:nvSpPr>
              <p:cNvPr id="37" name="Arc 36">
                <a:extLst>
                  <a:ext uri="{FF2B5EF4-FFF2-40B4-BE49-F238E27FC236}">
                    <a16:creationId xmlns:a16="http://schemas.microsoft.com/office/drawing/2014/main" id="{FD7C15E1-1E1C-C6CC-E00F-C9DC4ACDD713}"/>
                  </a:ext>
                </a:extLst>
              </p:cNvPr>
              <p:cNvSpPr/>
              <p:nvPr/>
            </p:nvSpPr>
            <p:spPr>
              <a:xfrm rot="5074366">
                <a:off x="5662134" y="1958739"/>
                <a:ext cx="1671782" cy="1671782"/>
              </a:xfrm>
              <a:prstGeom prst="arc">
                <a:avLst>
                  <a:gd name="adj1" fmla="val 17745980"/>
                  <a:gd name="adj2" fmla="val 4035647"/>
                </a:avLst>
              </a:prstGeom>
              <a:noFill/>
              <a:ln w="9525" cap="flat" cmpd="sng" algn="ctr">
                <a:solidFill>
                  <a:sysClr val="window" lastClr="FFFFFF">
                    <a:lumMod val="65000"/>
                  </a:sysClr>
                </a:solidFill>
                <a:prstDash val="solid"/>
                <a:headEnd type="none"/>
                <a:tailEnd type="none"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grpSp>
        <p:sp>
          <p:nvSpPr>
            <p:cNvPr id="19" name="TextBox 18">
              <a:extLst>
                <a:ext uri="{FF2B5EF4-FFF2-40B4-BE49-F238E27FC236}">
                  <a16:creationId xmlns:a16="http://schemas.microsoft.com/office/drawing/2014/main" id="{B0BADB0A-6C75-42D4-F4E2-28A87D753DF8}"/>
                </a:ext>
              </a:extLst>
            </p:cNvPr>
            <p:cNvSpPr txBox="1"/>
            <p:nvPr/>
          </p:nvSpPr>
          <p:spPr>
            <a:xfrm>
              <a:off x="2225157" y="1895527"/>
              <a:ext cx="1152118" cy="384885"/>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600" b="0" i="0" u="none" strike="noStrike" kern="0" cap="none" spc="0" normalizeH="0" baseline="0" noProof="0" dirty="0">
                  <a:ln>
                    <a:noFill/>
                  </a:ln>
                  <a:solidFill>
                    <a:schemeClr val="bg1"/>
                  </a:solidFill>
                  <a:effectLst/>
                  <a:uLnTx/>
                  <a:uFillTx/>
                  <a:latin typeface="Calibri Light"/>
                </a:rPr>
                <a:t>Testing automation </a:t>
              </a:r>
            </a:p>
          </p:txBody>
        </p:sp>
      </p:grpSp>
      <p:sp>
        <p:nvSpPr>
          <p:cNvPr id="54" name="TextBox 53">
            <a:extLst>
              <a:ext uri="{FF2B5EF4-FFF2-40B4-BE49-F238E27FC236}">
                <a16:creationId xmlns:a16="http://schemas.microsoft.com/office/drawing/2014/main" id="{DAC6616B-BE4D-FBCE-4672-91B0E6C75EDA}"/>
              </a:ext>
            </a:extLst>
          </p:cNvPr>
          <p:cNvSpPr txBox="1"/>
          <p:nvPr/>
        </p:nvSpPr>
        <p:spPr>
          <a:xfrm>
            <a:off x="3295375" y="2780946"/>
            <a:ext cx="1530842"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600" b="0" i="0" u="none" strike="noStrike" kern="0" cap="none" spc="0" normalizeH="0" baseline="0" noProof="0" dirty="0">
                <a:ln>
                  <a:noFill/>
                </a:ln>
                <a:solidFill>
                  <a:schemeClr val="bg1"/>
                </a:solidFill>
                <a:effectLst/>
                <a:uLnTx/>
                <a:uFillTx/>
                <a:latin typeface="Calibri Light"/>
              </a:rPr>
              <a:t>By design </a:t>
            </a:r>
          </a:p>
        </p:txBody>
      </p:sp>
      <p:sp>
        <p:nvSpPr>
          <p:cNvPr id="55" name="TextBox 54">
            <a:extLst>
              <a:ext uri="{FF2B5EF4-FFF2-40B4-BE49-F238E27FC236}">
                <a16:creationId xmlns:a16="http://schemas.microsoft.com/office/drawing/2014/main" id="{21CA3FFB-B4D4-D199-E7BF-86FBB383F858}"/>
              </a:ext>
            </a:extLst>
          </p:cNvPr>
          <p:cNvSpPr txBox="1"/>
          <p:nvPr/>
        </p:nvSpPr>
        <p:spPr>
          <a:xfrm>
            <a:off x="5326569" y="2739636"/>
            <a:ext cx="1530842" cy="49244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NZ" sz="1600" b="0" i="0" u="none" strike="noStrike" kern="0" cap="none" spc="0" normalizeH="0" baseline="0" noProof="0" dirty="0">
                <a:ln>
                  <a:noFill/>
                </a:ln>
                <a:solidFill>
                  <a:schemeClr val="bg1"/>
                </a:solidFill>
                <a:effectLst/>
                <a:uLnTx/>
                <a:uFillTx/>
                <a:latin typeface="Calibri Light"/>
              </a:rPr>
              <a:t>Show me don’t tell me </a:t>
            </a:r>
          </a:p>
        </p:txBody>
      </p:sp>
      <p:sp>
        <p:nvSpPr>
          <p:cNvPr id="56" name="TextBox 55">
            <a:extLst>
              <a:ext uri="{FF2B5EF4-FFF2-40B4-BE49-F238E27FC236}">
                <a16:creationId xmlns:a16="http://schemas.microsoft.com/office/drawing/2014/main" id="{6CEBB990-736E-7B3B-C93C-4AA31756F33F}"/>
              </a:ext>
            </a:extLst>
          </p:cNvPr>
          <p:cNvSpPr txBox="1"/>
          <p:nvPr/>
        </p:nvSpPr>
        <p:spPr>
          <a:xfrm>
            <a:off x="7361180" y="2736072"/>
            <a:ext cx="1530842" cy="2462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600" b="0" i="0" u="none" strike="noStrike" kern="0" cap="none" spc="0" normalizeH="0" baseline="0" noProof="0" dirty="0">
                <a:ln>
                  <a:noFill/>
                </a:ln>
                <a:solidFill>
                  <a:schemeClr val="bg1"/>
                </a:solidFill>
                <a:effectLst/>
                <a:uLnTx/>
                <a:uFillTx/>
                <a:latin typeface="Calibri Light"/>
              </a:rPr>
              <a:t>Assurance </a:t>
            </a:r>
          </a:p>
        </p:txBody>
      </p:sp>
      <p:sp>
        <p:nvSpPr>
          <p:cNvPr id="57" name="TextBox 56">
            <a:extLst>
              <a:ext uri="{FF2B5EF4-FFF2-40B4-BE49-F238E27FC236}">
                <a16:creationId xmlns:a16="http://schemas.microsoft.com/office/drawing/2014/main" id="{9D9D274F-14FD-34DE-39C5-6A1E950FAC91}"/>
              </a:ext>
            </a:extLst>
          </p:cNvPr>
          <p:cNvSpPr txBox="1"/>
          <p:nvPr/>
        </p:nvSpPr>
        <p:spPr>
          <a:xfrm>
            <a:off x="9314349" y="2739636"/>
            <a:ext cx="1530842" cy="492443"/>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600" b="0" i="0" u="none" strike="noStrike" kern="0" cap="none" spc="0" normalizeH="0" baseline="0" noProof="0" dirty="0">
                <a:ln>
                  <a:noFill/>
                </a:ln>
                <a:solidFill>
                  <a:schemeClr val="bg1"/>
                </a:solidFill>
                <a:effectLst/>
                <a:uLnTx/>
                <a:uFillTx/>
                <a:latin typeface="Calibri Light"/>
              </a:rPr>
              <a:t>Change with Capital C </a:t>
            </a:r>
          </a:p>
        </p:txBody>
      </p:sp>
    </p:spTree>
    <p:extLst>
      <p:ext uri="{BB962C8B-B14F-4D97-AF65-F5344CB8AC3E}">
        <p14:creationId xmlns:p14="http://schemas.microsoft.com/office/powerpoint/2010/main" val="2043837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8" grpId="0"/>
      <p:bldP spid="10" grpId="0"/>
      <p:bldP spid="12" grpId="0" animBg="1"/>
      <p:bldP spid="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505F85-3D42-0670-6F18-AA1B31AFA62D}"/>
              </a:ext>
            </a:extLst>
          </p:cNvPr>
          <p:cNvSpPr txBox="1"/>
          <p:nvPr/>
        </p:nvSpPr>
        <p:spPr>
          <a:xfrm>
            <a:off x="430550" y="323577"/>
            <a:ext cx="7248633" cy="461665"/>
          </a:xfrm>
          <a:prstGeom prst="rect">
            <a:avLst/>
          </a:prstGeom>
          <a:noFill/>
        </p:spPr>
        <p:txBody>
          <a:bodyPr wrap="square" rtlCol="0">
            <a:spAutoFit/>
          </a:bodyPr>
          <a:lstStyle/>
          <a:p>
            <a:r>
              <a:rPr lang="en-NZ" sz="2400" dirty="0">
                <a:solidFill>
                  <a:schemeClr val="bg1"/>
                </a:solidFill>
              </a:rPr>
              <a:t>Summary</a:t>
            </a:r>
            <a:endParaRPr lang="en-NZ" sz="2400" b="1" dirty="0">
              <a:solidFill>
                <a:schemeClr val="bg1"/>
              </a:solidFill>
            </a:endParaRPr>
          </a:p>
        </p:txBody>
      </p:sp>
      <p:sp>
        <p:nvSpPr>
          <p:cNvPr id="2" name="Rectangle 1">
            <a:extLst>
              <a:ext uri="{FF2B5EF4-FFF2-40B4-BE49-F238E27FC236}">
                <a16:creationId xmlns:a16="http://schemas.microsoft.com/office/drawing/2014/main" id="{8781FB4E-77F5-8636-71FC-2943EEDF7969}"/>
              </a:ext>
            </a:extLst>
          </p:cNvPr>
          <p:cNvSpPr/>
          <p:nvPr/>
        </p:nvSpPr>
        <p:spPr>
          <a:xfrm>
            <a:off x="430549" y="760958"/>
            <a:ext cx="8955821" cy="328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r>
              <a:rPr lang="en-NZ" dirty="0">
                <a:solidFill>
                  <a:schemeClr val="bg1">
                    <a:lumMod val="85000"/>
                  </a:schemeClr>
                </a:solidFill>
              </a:rPr>
              <a:t>How would you respond to your next remediation?</a:t>
            </a:r>
          </a:p>
        </p:txBody>
      </p:sp>
      <p:cxnSp>
        <p:nvCxnSpPr>
          <p:cNvPr id="110" name="Straight Connector 109">
            <a:extLst>
              <a:ext uri="{FF2B5EF4-FFF2-40B4-BE49-F238E27FC236}">
                <a16:creationId xmlns:a16="http://schemas.microsoft.com/office/drawing/2014/main" id="{AE460EE8-360A-9759-BF67-9783C436C3C9}"/>
              </a:ext>
            </a:extLst>
          </p:cNvPr>
          <p:cNvCxnSpPr/>
          <p:nvPr/>
        </p:nvCxnSpPr>
        <p:spPr>
          <a:xfrm>
            <a:off x="2299665" y="3995040"/>
            <a:ext cx="0" cy="1402545"/>
          </a:xfrm>
          <a:prstGeom prst="line">
            <a:avLst/>
          </a:prstGeom>
          <a:noFill/>
          <a:ln w="12700" cap="flat" cmpd="sng" algn="ctr">
            <a:solidFill>
              <a:srgbClr val="75787B"/>
            </a:solidFill>
            <a:prstDash val="solid"/>
            <a:tailEnd type="oval" w="lg" len="lg"/>
          </a:ln>
          <a:effectLst/>
        </p:spPr>
      </p:cxnSp>
      <p:cxnSp>
        <p:nvCxnSpPr>
          <p:cNvPr id="111" name="Straight Connector 110">
            <a:extLst>
              <a:ext uri="{FF2B5EF4-FFF2-40B4-BE49-F238E27FC236}">
                <a16:creationId xmlns:a16="http://schemas.microsoft.com/office/drawing/2014/main" id="{90C1BC1E-3527-4089-BD9F-E2B13DB4CF1C}"/>
              </a:ext>
            </a:extLst>
          </p:cNvPr>
          <p:cNvCxnSpPr/>
          <p:nvPr/>
        </p:nvCxnSpPr>
        <p:spPr>
          <a:xfrm>
            <a:off x="6096000" y="3995040"/>
            <a:ext cx="0" cy="1402545"/>
          </a:xfrm>
          <a:prstGeom prst="line">
            <a:avLst/>
          </a:prstGeom>
          <a:noFill/>
          <a:ln w="12700" cap="flat" cmpd="sng" algn="ctr">
            <a:solidFill>
              <a:srgbClr val="75787B"/>
            </a:solidFill>
            <a:prstDash val="solid"/>
            <a:tailEnd type="oval" w="lg" len="lg"/>
          </a:ln>
          <a:effectLst/>
        </p:spPr>
      </p:cxnSp>
      <p:cxnSp>
        <p:nvCxnSpPr>
          <p:cNvPr id="112" name="Straight Connector 111">
            <a:extLst>
              <a:ext uri="{FF2B5EF4-FFF2-40B4-BE49-F238E27FC236}">
                <a16:creationId xmlns:a16="http://schemas.microsoft.com/office/drawing/2014/main" id="{BAC50E58-92BB-2A74-8CEF-EF98DBB5B3F7}"/>
              </a:ext>
            </a:extLst>
          </p:cNvPr>
          <p:cNvCxnSpPr/>
          <p:nvPr/>
        </p:nvCxnSpPr>
        <p:spPr>
          <a:xfrm>
            <a:off x="9846590" y="3995040"/>
            <a:ext cx="0" cy="1402545"/>
          </a:xfrm>
          <a:prstGeom prst="line">
            <a:avLst/>
          </a:prstGeom>
          <a:noFill/>
          <a:ln w="12700" cap="flat" cmpd="sng" algn="ctr">
            <a:solidFill>
              <a:srgbClr val="75787B"/>
            </a:solidFill>
            <a:prstDash val="solid"/>
            <a:tailEnd type="oval" w="lg" len="lg"/>
          </a:ln>
          <a:effectLst/>
        </p:spPr>
      </p:cxnSp>
      <p:sp>
        <p:nvSpPr>
          <p:cNvPr id="116" name="Arc 115">
            <a:extLst>
              <a:ext uri="{FF2B5EF4-FFF2-40B4-BE49-F238E27FC236}">
                <a16:creationId xmlns:a16="http://schemas.microsoft.com/office/drawing/2014/main" id="{9F6EE052-EA34-E322-46FB-B91B139A2003}"/>
              </a:ext>
            </a:extLst>
          </p:cNvPr>
          <p:cNvSpPr/>
          <p:nvPr/>
        </p:nvSpPr>
        <p:spPr>
          <a:xfrm rot="5400000">
            <a:off x="7971080" y="990269"/>
            <a:ext cx="3751020" cy="3751021"/>
          </a:xfrm>
          <a:prstGeom prst="arc">
            <a:avLst>
              <a:gd name="adj1" fmla="val 16200000"/>
              <a:gd name="adj2" fmla="val 5267459"/>
            </a:avLst>
          </a:prstGeom>
          <a:noFill/>
          <a:ln w="12700" cap="flat" cmpd="sng" algn="ctr">
            <a:solidFill>
              <a:srgbClr val="75787B"/>
            </a:solidFill>
            <a:prstDash val="solid"/>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17" name="Arc 116">
            <a:extLst>
              <a:ext uri="{FF2B5EF4-FFF2-40B4-BE49-F238E27FC236}">
                <a16:creationId xmlns:a16="http://schemas.microsoft.com/office/drawing/2014/main" id="{4926868E-F3A5-434D-F149-BF2BCDE08394}"/>
              </a:ext>
            </a:extLst>
          </p:cNvPr>
          <p:cNvSpPr/>
          <p:nvPr/>
        </p:nvSpPr>
        <p:spPr>
          <a:xfrm rot="5400000">
            <a:off x="4218530" y="990269"/>
            <a:ext cx="3751020" cy="3751021"/>
          </a:xfrm>
          <a:prstGeom prst="arc">
            <a:avLst>
              <a:gd name="adj1" fmla="val 16200000"/>
              <a:gd name="adj2" fmla="val 5290927"/>
            </a:avLst>
          </a:prstGeom>
          <a:noFill/>
          <a:ln w="12700" cap="flat" cmpd="sng" algn="ctr">
            <a:solidFill>
              <a:srgbClr val="75787B"/>
            </a:solidFill>
            <a:prstDash val="solid"/>
            <a:headEnd type="triangl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18" name="Arc 117">
            <a:extLst>
              <a:ext uri="{FF2B5EF4-FFF2-40B4-BE49-F238E27FC236}">
                <a16:creationId xmlns:a16="http://schemas.microsoft.com/office/drawing/2014/main" id="{F3CA65E2-F10D-677C-998C-CF9A93CD7902}"/>
              </a:ext>
            </a:extLst>
          </p:cNvPr>
          <p:cNvSpPr/>
          <p:nvPr/>
        </p:nvSpPr>
        <p:spPr>
          <a:xfrm rot="5400000">
            <a:off x="464496" y="990269"/>
            <a:ext cx="3751020" cy="3751021"/>
          </a:xfrm>
          <a:prstGeom prst="arc">
            <a:avLst>
              <a:gd name="adj1" fmla="val 16200000"/>
              <a:gd name="adj2" fmla="val 5438325"/>
            </a:avLst>
          </a:prstGeom>
          <a:noFill/>
          <a:ln w="12700" cap="flat" cmpd="sng" algn="ctr">
            <a:solidFill>
              <a:srgbClr val="75787B"/>
            </a:solidFill>
            <a:prstDash val="solid"/>
            <a:headEnd type="triangle" w="med" len="med"/>
            <a:tailEnd type="oval"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120" name="Group 119">
            <a:extLst>
              <a:ext uri="{FF2B5EF4-FFF2-40B4-BE49-F238E27FC236}">
                <a16:creationId xmlns:a16="http://schemas.microsoft.com/office/drawing/2014/main" id="{CFCCCC12-241D-D725-E527-4F1EB1379394}"/>
              </a:ext>
            </a:extLst>
          </p:cNvPr>
          <p:cNvGrpSpPr/>
          <p:nvPr/>
        </p:nvGrpSpPr>
        <p:grpSpPr>
          <a:xfrm>
            <a:off x="1139856" y="1681395"/>
            <a:ext cx="2400300" cy="2400300"/>
            <a:chOff x="1031713" y="-1113746"/>
            <a:chExt cx="2400300" cy="2400300"/>
          </a:xfrm>
        </p:grpSpPr>
        <p:grpSp>
          <p:nvGrpSpPr>
            <p:cNvPr id="127" name="Group 126">
              <a:extLst>
                <a:ext uri="{FF2B5EF4-FFF2-40B4-BE49-F238E27FC236}">
                  <a16:creationId xmlns:a16="http://schemas.microsoft.com/office/drawing/2014/main" id="{DB58AD7F-B9F8-C7B0-361D-DDE566F66171}"/>
                </a:ext>
              </a:extLst>
            </p:cNvPr>
            <p:cNvGrpSpPr/>
            <p:nvPr/>
          </p:nvGrpSpPr>
          <p:grpSpPr>
            <a:xfrm>
              <a:off x="1031713" y="-1113746"/>
              <a:ext cx="2400300" cy="2400300"/>
              <a:chOff x="1031713" y="-1113746"/>
              <a:chExt cx="2400300" cy="2400300"/>
            </a:xfrm>
          </p:grpSpPr>
          <p:sp>
            <p:nvSpPr>
              <p:cNvPr id="129" name="Freeform 80">
                <a:extLst>
                  <a:ext uri="{FF2B5EF4-FFF2-40B4-BE49-F238E27FC236}">
                    <a16:creationId xmlns:a16="http://schemas.microsoft.com/office/drawing/2014/main" id="{39B5BB55-6F10-1EDA-3367-A499E4D20BBA}"/>
                  </a:ext>
                </a:extLst>
              </p:cNvPr>
              <p:cNvSpPr/>
              <p:nvPr/>
            </p:nvSpPr>
            <p:spPr bwMode="gray">
              <a:xfrm>
                <a:off x="1031713"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130" name="Freeform 78">
                <a:extLst>
                  <a:ext uri="{FF2B5EF4-FFF2-40B4-BE49-F238E27FC236}">
                    <a16:creationId xmlns:a16="http://schemas.microsoft.com/office/drawing/2014/main" id="{A3BC9C4F-5FC0-87C8-A128-7A8DC392ED50}"/>
                  </a:ext>
                </a:extLst>
              </p:cNvPr>
              <p:cNvSpPr/>
              <p:nvPr/>
            </p:nvSpPr>
            <p:spPr bwMode="gray">
              <a:xfrm>
                <a:off x="1032509"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rgbClr val="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grpSp>
        <p:sp>
          <p:nvSpPr>
            <p:cNvPr id="128" name="Oval 127">
              <a:extLst>
                <a:ext uri="{FF2B5EF4-FFF2-40B4-BE49-F238E27FC236}">
                  <a16:creationId xmlns:a16="http://schemas.microsoft.com/office/drawing/2014/main" id="{55C4F3F3-D196-9704-397B-31481202ECB0}"/>
                </a:ext>
              </a:extLst>
            </p:cNvPr>
            <p:cNvSpPr/>
            <p:nvPr/>
          </p:nvSpPr>
          <p:spPr bwMode="gray">
            <a:xfrm>
              <a:off x="1118368" y="-1027091"/>
              <a:ext cx="2226990" cy="2226990"/>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grpSp>
      <p:grpSp>
        <p:nvGrpSpPr>
          <p:cNvPr id="132" name="Group 131">
            <a:extLst>
              <a:ext uri="{FF2B5EF4-FFF2-40B4-BE49-F238E27FC236}">
                <a16:creationId xmlns:a16="http://schemas.microsoft.com/office/drawing/2014/main" id="{736104F4-E802-4544-34DD-7F5A76AE43D5}"/>
              </a:ext>
            </a:extLst>
          </p:cNvPr>
          <p:cNvGrpSpPr/>
          <p:nvPr/>
        </p:nvGrpSpPr>
        <p:grpSpPr>
          <a:xfrm>
            <a:off x="8646440" y="1681395"/>
            <a:ext cx="2400300" cy="2400300"/>
            <a:chOff x="8810287" y="-1113746"/>
            <a:chExt cx="2400300" cy="2400300"/>
          </a:xfrm>
        </p:grpSpPr>
        <p:grpSp>
          <p:nvGrpSpPr>
            <p:cNvPr id="141" name="Group 140">
              <a:extLst>
                <a:ext uri="{FF2B5EF4-FFF2-40B4-BE49-F238E27FC236}">
                  <a16:creationId xmlns:a16="http://schemas.microsoft.com/office/drawing/2014/main" id="{6F63DD2C-5F25-D07A-2BAF-1229B6FFE873}"/>
                </a:ext>
              </a:extLst>
            </p:cNvPr>
            <p:cNvGrpSpPr/>
            <p:nvPr/>
          </p:nvGrpSpPr>
          <p:grpSpPr>
            <a:xfrm>
              <a:off x="8810287" y="-1113746"/>
              <a:ext cx="2400300" cy="2400300"/>
              <a:chOff x="8810287" y="-1113746"/>
              <a:chExt cx="2400300" cy="2400300"/>
            </a:xfrm>
          </p:grpSpPr>
          <p:sp>
            <p:nvSpPr>
              <p:cNvPr id="143" name="Freeform 87">
                <a:extLst>
                  <a:ext uri="{FF2B5EF4-FFF2-40B4-BE49-F238E27FC236}">
                    <a16:creationId xmlns:a16="http://schemas.microsoft.com/office/drawing/2014/main" id="{B69CBD8E-CB9E-A889-4B41-D72DE92DF1EF}"/>
                  </a:ext>
                </a:extLst>
              </p:cNvPr>
              <p:cNvSpPr/>
              <p:nvPr/>
            </p:nvSpPr>
            <p:spPr bwMode="gray">
              <a:xfrm>
                <a:off x="8810287"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144" name="Freeform 88">
                <a:extLst>
                  <a:ext uri="{FF2B5EF4-FFF2-40B4-BE49-F238E27FC236}">
                    <a16:creationId xmlns:a16="http://schemas.microsoft.com/office/drawing/2014/main" id="{AB6F4E5D-6FDF-A729-BFCB-AC5EA6A3BBEC}"/>
                  </a:ext>
                </a:extLst>
              </p:cNvPr>
              <p:cNvSpPr/>
              <p:nvPr/>
            </p:nvSpPr>
            <p:spPr bwMode="gray">
              <a:xfrm>
                <a:off x="8811083"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rgbClr val="86BC25"/>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grpSp>
        <p:sp>
          <p:nvSpPr>
            <p:cNvPr id="142" name="Oval 141">
              <a:extLst>
                <a:ext uri="{FF2B5EF4-FFF2-40B4-BE49-F238E27FC236}">
                  <a16:creationId xmlns:a16="http://schemas.microsoft.com/office/drawing/2014/main" id="{ED279E35-1B79-7403-600E-FF4B489FCACC}"/>
                </a:ext>
              </a:extLst>
            </p:cNvPr>
            <p:cNvSpPr/>
            <p:nvPr/>
          </p:nvSpPr>
          <p:spPr bwMode="gray">
            <a:xfrm>
              <a:off x="8896942" y="-1027091"/>
              <a:ext cx="2226990" cy="2226990"/>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grpSp>
      <p:grpSp>
        <p:nvGrpSpPr>
          <p:cNvPr id="146" name="Group 145">
            <a:extLst>
              <a:ext uri="{FF2B5EF4-FFF2-40B4-BE49-F238E27FC236}">
                <a16:creationId xmlns:a16="http://schemas.microsoft.com/office/drawing/2014/main" id="{7B63E6B8-6394-193A-4059-A9ADA9E01E27}"/>
              </a:ext>
            </a:extLst>
          </p:cNvPr>
          <p:cNvGrpSpPr/>
          <p:nvPr/>
        </p:nvGrpSpPr>
        <p:grpSpPr>
          <a:xfrm>
            <a:off x="4893890" y="1681395"/>
            <a:ext cx="2400300" cy="2400300"/>
            <a:chOff x="4855107" y="-1113746"/>
            <a:chExt cx="2400300" cy="2400300"/>
          </a:xfrm>
        </p:grpSpPr>
        <p:grpSp>
          <p:nvGrpSpPr>
            <p:cNvPr id="150" name="Group 149">
              <a:extLst>
                <a:ext uri="{FF2B5EF4-FFF2-40B4-BE49-F238E27FC236}">
                  <a16:creationId xmlns:a16="http://schemas.microsoft.com/office/drawing/2014/main" id="{B18EEE51-955C-9028-3EA5-0CC6AB90C19D}"/>
                </a:ext>
              </a:extLst>
            </p:cNvPr>
            <p:cNvGrpSpPr/>
            <p:nvPr/>
          </p:nvGrpSpPr>
          <p:grpSpPr>
            <a:xfrm rot="10800000">
              <a:off x="4855107" y="-1113746"/>
              <a:ext cx="2400300" cy="2400300"/>
              <a:chOff x="4855107" y="-1113746"/>
              <a:chExt cx="2400300" cy="2400300"/>
            </a:xfrm>
          </p:grpSpPr>
          <p:sp>
            <p:nvSpPr>
              <p:cNvPr id="152" name="Freeform 81">
                <a:extLst>
                  <a:ext uri="{FF2B5EF4-FFF2-40B4-BE49-F238E27FC236}">
                    <a16:creationId xmlns:a16="http://schemas.microsoft.com/office/drawing/2014/main" id="{21FDDB6D-E6F1-B301-9644-78499F1D174B}"/>
                  </a:ext>
                </a:extLst>
              </p:cNvPr>
              <p:cNvSpPr/>
              <p:nvPr/>
            </p:nvSpPr>
            <p:spPr bwMode="gray">
              <a:xfrm>
                <a:off x="4855107" y="-1113746"/>
                <a:ext cx="2400300" cy="1215915"/>
              </a:xfrm>
              <a:custGeom>
                <a:avLst/>
                <a:gdLst>
                  <a:gd name="connsiteX0" fmla="*/ 1200150 w 2400300"/>
                  <a:gd name="connsiteY0" fmla="*/ 0 h 1215915"/>
                  <a:gd name="connsiteX1" fmla="*/ 2400300 w 2400300"/>
                  <a:gd name="connsiteY1" fmla="*/ 1200150 h 1215915"/>
                  <a:gd name="connsiteX2" fmla="*/ 2399504 w 2400300"/>
                  <a:gd name="connsiteY2" fmla="*/ 1215915 h 1215915"/>
                  <a:gd name="connsiteX3" fmla="*/ 796 w 2400300"/>
                  <a:gd name="connsiteY3" fmla="*/ 1215915 h 1215915"/>
                  <a:gd name="connsiteX4" fmla="*/ 0 w 2400300"/>
                  <a:gd name="connsiteY4" fmla="*/ 1200150 h 1215915"/>
                  <a:gd name="connsiteX5" fmla="*/ 1200150 w 2400300"/>
                  <a:gd name="connsiteY5" fmla="*/ 0 h 121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0300" h="1215915">
                    <a:moveTo>
                      <a:pt x="1200150" y="0"/>
                    </a:moveTo>
                    <a:cubicBezTo>
                      <a:pt x="1862975" y="0"/>
                      <a:pt x="2400300" y="537325"/>
                      <a:pt x="2400300" y="1200150"/>
                    </a:cubicBezTo>
                    <a:lnTo>
                      <a:pt x="2399504" y="1215915"/>
                    </a:lnTo>
                    <a:lnTo>
                      <a:pt x="796" y="1215915"/>
                    </a:lnTo>
                    <a:lnTo>
                      <a:pt x="0" y="1200150"/>
                    </a:lnTo>
                    <a:cubicBezTo>
                      <a:pt x="0" y="537325"/>
                      <a:pt x="537325" y="0"/>
                      <a:pt x="1200150" y="0"/>
                    </a:cubicBezTo>
                    <a:close/>
                  </a:path>
                </a:pathLst>
              </a:custGeom>
              <a:solidFill>
                <a:srgbClr val="53565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sp>
            <p:nvSpPr>
              <p:cNvPr id="153" name="Freeform 82">
                <a:extLst>
                  <a:ext uri="{FF2B5EF4-FFF2-40B4-BE49-F238E27FC236}">
                    <a16:creationId xmlns:a16="http://schemas.microsoft.com/office/drawing/2014/main" id="{C186D8EA-77E0-CF5D-FB1D-FDD9ECD3F6E3}"/>
                  </a:ext>
                </a:extLst>
              </p:cNvPr>
              <p:cNvSpPr/>
              <p:nvPr/>
            </p:nvSpPr>
            <p:spPr bwMode="gray">
              <a:xfrm>
                <a:off x="4855903" y="102169"/>
                <a:ext cx="2398708" cy="1184385"/>
              </a:xfrm>
              <a:custGeom>
                <a:avLst/>
                <a:gdLst>
                  <a:gd name="connsiteX0" fmla="*/ 0 w 2398708"/>
                  <a:gd name="connsiteY0" fmla="*/ 0 h 1184385"/>
                  <a:gd name="connsiteX1" fmla="*/ 2398708 w 2398708"/>
                  <a:gd name="connsiteY1" fmla="*/ 0 h 1184385"/>
                  <a:gd name="connsiteX2" fmla="*/ 2393308 w 2398708"/>
                  <a:gd name="connsiteY2" fmla="*/ 106943 h 1184385"/>
                  <a:gd name="connsiteX3" fmla="*/ 1199354 w 2398708"/>
                  <a:gd name="connsiteY3" fmla="*/ 1184385 h 1184385"/>
                  <a:gd name="connsiteX4" fmla="*/ 5400 w 2398708"/>
                  <a:gd name="connsiteY4" fmla="*/ 106943 h 1184385"/>
                  <a:gd name="connsiteX5" fmla="*/ 0 w 2398708"/>
                  <a:gd name="connsiteY5" fmla="*/ 0 h 118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8708" h="1184385">
                    <a:moveTo>
                      <a:pt x="0" y="0"/>
                    </a:moveTo>
                    <a:lnTo>
                      <a:pt x="2398708" y="0"/>
                    </a:lnTo>
                    <a:lnTo>
                      <a:pt x="2393308" y="106943"/>
                    </a:lnTo>
                    <a:cubicBezTo>
                      <a:pt x="2331848" y="712127"/>
                      <a:pt x="1820753" y="1184385"/>
                      <a:pt x="1199354" y="1184385"/>
                    </a:cubicBezTo>
                    <a:cubicBezTo>
                      <a:pt x="577956" y="1184385"/>
                      <a:pt x="66860" y="712127"/>
                      <a:pt x="5400" y="106943"/>
                    </a:cubicBezTo>
                    <a:lnTo>
                      <a:pt x="0" y="0"/>
                    </a:lnTo>
                    <a:close/>
                  </a:path>
                </a:pathLst>
              </a:custGeom>
              <a:solidFill>
                <a:srgbClr val="26890D"/>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grpSp>
        <p:sp>
          <p:nvSpPr>
            <p:cNvPr id="151" name="Oval 150">
              <a:extLst>
                <a:ext uri="{FF2B5EF4-FFF2-40B4-BE49-F238E27FC236}">
                  <a16:creationId xmlns:a16="http://schemas.microsoft.com/office/drawing/2014/main" id="{972F9805-BF39-3BA0-B400-3DA73A9EF713}"/>
                </a:ext>
              </a:extLst>
            </p:cNvPr>
            <p:cNvSpPr/>
            <p:nvPr/>
          </p:nvSpPr>
          <p:spPr bwMode="gray">
            <a:xfrm>
              <a:off x="4941762" y="-1027091"/>
              <a:ext cx="2226990" cy="2226990"/>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endParaRPr>
            </a:p>
          </p:txBody>
        </p:sp>
      </p:grpSp>
      <p:sp>
        <p:nvSpPr>
          <p:cNvPr id="154" name="文本框 7">
            <a:extLst>
              <a:ext uri="{FF2B5EF4-FFF2-40B4-BE49-F238E27FC236}">
                <a16:creationId xmlns:a16="http://schemas.microsoft.com/office/drawing/2014/main" id="{926F7A9D-4D77-88F5-77A6-FFD8016D118E}"/>
              </a:ext>
            </a:extLst>
          </p:cNvPr>
          <p:cNvSpPr txBox="1"/>
          <p:nvPr/>
        </p:nvSpPr>
        <p:spPr>
          <a:xfrm>
            <a:off x="1424651" y="5547846"/>
            <a:ext cx="1803905" cy="553998"/>
          </a:xfrm>
          <a:prstGeom prst="rect">
            <a:avLst/>
          </a:prstGeom>
          <a:noFill/>
        </p:spPr>
        <p:txBody>
          <a:bodyPr vert="horz" wrap="square" lIns="0" tIns="0" rIns="0" bIns="0" rtlCol="0">
            <a:spAutoFit/>
          </a:bodyPr>
          <a:lstStyle/>
          <a:p>
            <a:pPr algn="ctr">
              <a:buSzPct val="100000"/>
            </a:pPr>
            <a:r>
              <a:rPr lang="en-NZ" dirty="0">
                <a:solidFill>
                  <a:schemeClr val="bg1"/>
                </a:solidFill>
              </a:rPr>
              <a:t>Large, complex, long run projects </a:t>
            </a:r>
          </a:p>
        </p:txBody>
      </p:sp>
      <p:sp>
        <p:nvSpPr>
          <p:cNvPr id="155" name="文本框 61">
            <a:extLst>
              <a:ext uri="{FF2B5EF4-FFF2-40B4-BE49-F238E27FC236}">
                <a16:creationId xmlns:a16="http://schemas.microsoft.com/office/drawing/2014/main" id="{8B3A447F-B2FB-FB14-FB11-68357819C3A0}"/>
              </a:ext>
            </a:extLst>
          </p:cNvPr>
          <p:cNvSpPr txBox="1"/>
          <p:nvPr/>
        </p:nvSpPr>
        <p:spPr>
          <a:xfrm>
            <a:off x="5235718" y="5570224"/>
            <a:ext cx="1716641" cy="276999"/>
          </a:xfrm>
          <a:prstGeom prst="rect">
            <a:avLst/>
          </a:prstGeom>
          <a:noFill/>
        </p:spPr>
        <p:txBody>
          <a:bodyPr vert="horz" wrap="square" lIns="0" tIns="0" rIns="0" bIns="0" rtlCol="0">
            <a:spAutoFit/>
          </a:bodyPr>
          <a:lstStyle/>
          <a:p>
            <a:pPr algn="ctr">
              <a:spcBef>
                <a:spcPts val="200"/>
              </a:spcBef>
              <a:buSzPct val="100000"/>
            </a:pPr>
            <a:r>
              <a:rPr lang="en-US" dirty="0">
                <a:solidFill>
                  <a:schemeClr val="bg1"/>
                </a:solidFill>
              </a:rPr>
              <a:t>Right people</a:t>
            </a:r>
            <a:endParaRPr lang="en-NZ" dirty="0">
              <a:solidFill>
                <a:schemeClr val="bg1"/>
              </a:solidFill>
            </a:endParaRPr>
          </a:p>
        </p:txBody>
      </p:sp>
      <p:sp>
        <p:nvSpPr>
          <p:cNvPr id="156" name="文本框 61">
            <a:extLst>
              <a:ext uri="{FF2B5EF4-FFF2-40B4-BE49-F238E27FC236}">
                <a16:creationId xmlns:a16="http://schemas.microsoft.com/office/drawing/2014/main" id="{205429F6-370E-5468-EE70-C328BC26A006}"/>
              </a:ext>
            </a:extLst>
          </p:cNvPr>
          <p:cNvSpPr txBox="1"/>
          <p:nvPr/>
        </p:nvSpPr>
        <p:spPr>
          <a:xfrm>
            <a:off x="8986922" y="5570224"/>
            <a:ext cx="1716646" cy="276999"/>
          </a:xfrm>
          <a:prstGeom prst="rect">
            <a:avLst/>
          </a:prstGeom>
          <a:noFill/>
        </p:spPr>
        <p:txBody>
          <a:bodyPr vert="horz" wrap="square" lIns="0" tIns="0" rIns="0" bIns="0" rtlCol="0">
            <a:spAutoFit/>
          </a:bodyPr>
          <a:lstStyle/>
          <a:p>
            <a:pPr algn="ctr">
              <a:spcBef>
                <a:spcPts val="200"/>
              </a:spcBef>
              <a:buSzPct val="100000"/>
            </a:pPr>
            <a:r>
              <a:rPr lang="en-US" dirty="0">
                <a:solidFill>
                  <a:schemeClr val="bg1"/>
                </a:solidFill>
              </a:rPr>
              <a:t>Right technology</a:t>
            </a:r>
            <a:endParaRPr lang="en-NZ" dirty="0">
              <a:solidFill>
                <a:schemeClr val="bg1"/>
              </a:solidFill>
            </a:endParaRPr>
          </a:p>
        </p:txBody>
      </p:sp>
      <p:grpSp>
        <p:nvGrpSpPr>
          <p:cNvPr id="133" name="Group 844">
            <a:extLst>
              <a:ext uri="{FF2B5EF4-FFF2-40B4-BE49-F238E27FC236}">
                <a16:creationId xmlns:a16="http://schemas.microsoft.com/office/drawing/2014/main" id="{53243459-73C3-98B4-11A4-CF866C53BA2F}"/>
              </a:ext>
            </a:extLst>
          </p:cNvPr>
          <p:cNvGrpSpPr>
            <a:grpSpLocks noChangeAspect="1"/>
          </p:cNvGrpSpPr>
          <p:nvPr/>
        </p:nvGrpSpPr>
        <p:grpSpPr bwMode="auto">
          <a:xfrm>
            <a:off x="5636839" y="2424345"/>
            <a:ext cx="914397" cy="914399"/>
            <a:chOff x="4301" y="3046"/>
            <a:chExt cx="340" cy="340"/>
          </a:xfrm>
          <a:solidFill>
            <a:srgbClr val="26890D"/>
          </a:solidFill>
        </p:grpSpPr>
        <p:sp>
          <p:nvSpPr>
            <p:cNvPr id="134" name="Freeform 845">
              <a:extLst>
                <a:ext uri="{FF2B5EF4-FFF2-40B4-BE49-F238E27FC236}">
                  <a16:creationId xmlns:a16="http://schemas.microsoft.com/office/drawing/2014/main" id="{C89D0971-7061-696B-BAEE-26733E2DD342}"/>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5" name="Freeform 846">
              <a:extLst>
                <a:ext uri="{FF2B5EF4-FFF2-40B4-BE49-F238E27FC236}">
                  <a16:creationId xmlns:a16="http://schemas.microsoft.com/office/drawing/2014/main" id="{FB8FA14E-CD33-B618-1549-643FE8C1F702}"/>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6" name="Freeform 847">
              <a:extLst>
                <a:ext uri="{FF2B5EF4-FFF2-40B4-BE49-F238E27FC236}">
                  <a16:creationId xmlns:a16="http://schemas.microsoft.com/office/drawing/2014/main" id="{8F4FA654-96E7-ADFF-9DA8-271A12EA35D3}"/>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7" name="Freeform 848">
              <a:extLst>
                <a:ext uri="{FF2B5EF4-FFF2-40B4-BE49-F238E27FC236}">
                  <a16:creationId xmlns:a16="http://schemas.microsoft.com/office/drawing/2014/main" id="{BE02C479-FEF0-1FBF-A42C-47B52037D220}"/>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8" name="Freeform 849">
              <a:extLst>
                <a:ext uri="{FF2B5EF4-FFF2-40B4-BE49-F238E27FC236}">
                  <a16:creationId xmlns:a16="http://schemas.microsoft.com/office/drawing/2014/main" id="{44DE106B-B6B0-85AE-FF4D-FD9966D8B942}"/>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9" name="Freeform 850">
              <a:extLst>
                <a:ext uri="{FF2B5EF4-FFF2-40B4-BE49-F238E27FC236}">
                  <a16:creationId xmlns:a16="http://schemas.microsoft.com/office/drawing/2014/main" id="{56C63BE6-4D8D-F256-CBAD-125C1BA31DB8}"/>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40" name="Freeform 851">
              <a:extLst>
                <a:ext uri="{FF2B5EF4-FFF2-40B4-BE49-F238E27FC236}">
                  <a16:creationId xmlns:a16="http://schemas.microsoft.com/office/drawing/2014/main" id="{4EA7D5F8-C8D6-CE35-BC0A-4B4F6C863FC5}"/>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6="http://schemas.microsoft.com/office/drawing/2014/main" xmlns:p14="http://schemas.microsoft.com/office/powerpoint/2010/main"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grpSp>
        <p:nvGrpSpPr>
          <p:cNvPr id="157" name="Graphic 1100">
            <a:extLst>
              <a:ext uri="{FF2B5EF4-FFF2-40B4-BE49-F238E27FC236}">
                <a16:creationId xmlns:a16="http://schemas.microsoft.com/office/drawing/2014/main" id="{F6EB1E22-B707-BC02-9B92-6A5AD78F4591}"/>
              </a:ext>
            </a:extLst>
          </p:cNvPr>
          <p:cNvGrpSpPr/>
          <p:nvPr/>
        </p:nvGrpSpPr>
        <p:grpSpPr>
          <a:xfrm>
            <a:off x="9386370" y="2421045"/>
            <a:ext cx="914400" cy="914400"/>
            <a:chOff x="467743" y="1406717"/>
            <a:chExt cx="361670" cy="361971"/>
          </a:xfrm>
          <a:solidFill>
            <a:srgbClr val="86BC25"/>
          </a:solidFill>
        </p:grpSpPr>
        <p:sp>
          <p:nvSpPr>
            <p:cNvPr id="158" name="Graphic 1100">
              <a:extLst>
                <a:ext uri="{FF2B5EF4-FFF2-40B4-BE49-F238E27FC236}">
                  <a16:creationId xmlns:a16="http://schemas.microsoft.com/office/drawing/2014/main" id="{95F8AC5A-14EC-B471-B492-B0CC5C40BBA2}"/>
                </a:ext>
              </a:extLst>
            </p:cNvPr>
            <p:cNvSpPr/>
            <p:nvPr/>
          </p:nvSpPr>
          <p:spPr>
            <a:xfrm>
              <a:off x="467743" y="1406717"/>
              <a:ext cx="361670" cy="361971"/>
            </a:xfrm>
            <a:custGeom>
              <a:avLst/>
              <a:gdLst>
                <a:gd name="connsiteX0" fmla="*/ 180835 w 361670"/>
                <a:gd name="connsiteY0" fmla="*/ 0 h 361971"/>
                <a:gd name="connsiteX1" fmla="*/ 0 w 361670"/>
                <a:gd name="connsiteY1" fmla="*/ 181305 h 361971"/>
                <a:gd name="connsiteX2" fmla="*/ 180835 w 361670"/>
                <a:gd name="connsiteY2" fmla="*/ 361972 h 361971"/>
                <a:gd name="connsiteX3" fmla="*/ 361670 w 361670"/>
                <a:gd name="connsiteY3" fmla="*/ 181305 h 361971"/>
                <a:gd name="connsiteX4" fmla="*/ 361670 w 361670"/>
                <a:gd name="connsiteY4" fmla="*/ 181305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028 h 361971"/>
                <a:gd name="connsiteX9" fmla="*/ 180835 w 361670"/>
                <a:gd name="connsiteY9" fmla="*/ 12130 h 361971"/>
                <a:gd name="connsiteX10" fmla="*/ 348891 w 361670"/>
                <a:gd name="connsiteY10" fmla="*/ 180028 h 361971"/>
                <a:gd name="connsiteX11" fmla="*/ 180835 w 361670"/>
                <a:gd name="connsiteY11"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1971">
                  <a:moveTo>
                    <a:pt x="180835" y="0"/>
                  </a:moveTo>
                  <a:cubicBezTo>
                    <a:pt x="80513" y="0"/>
                    <a:pt x="0" y="81077"/>
                    <a:pt x="0" y="181305"/>
                  </a:cubicBezTo>
                  <a:cubicBezTo>
                    <a:pt x="0" y="281534"/>
                    <a:pt x="81152" y="361972"/>
                    <a:pt x="180835" y="361972"/>
                  </a:cubicBezTo>
                  <a:cubicBezTo>
                    <a:pt x="280518" y="361972"/>
                    <a:pt x="361670" y="280895"/>
                    <a:pt x="361670" y="181305"/>
                  </a:cubicBezTo>
                  <a:cubicBezTo>
                    <a:pt x="361670" y="181305"/>
                    <a:pt x="361670" y="181305"/>
                    <a:pt x="361670" y="181305"/>
                  </a:cubicBezTo>
                  <a:cubicBezTo>
                    <a:pt x="361670" y="80438"/>
                    <a:pt x="281157" y="0"/>
                    <a:pt x="180835" y="0"/>
                  </a:cubicBezTo>
                  <a:cubicBezTo>
                    <a:pt x="180835" y="0"/>
                    <a:pt x="180835" y="0"/>
                    <a:pt x="180835" y="0"/>
                  </a:cubicBezTo>
                  <a:close/>
                  <a:moveTo>
                    <a:pt x="180835" y="348565"/>
                  </a:moveTo>
                  <a:cubicBezTo>
                    <a:pt x="87542" y="348565"/>
                    <a:pt x="12780" y="273234"/>
                    <a:pt x="12780" y="180028"/>
                  </a:cubicBezTo>
                  <a:cubicBezTo>
                    <a:pt x="12780" y="86822"/>
                    <a:pt x="87542" y="12130"/>
                    <a:pt x="180835" y="12130"/>
                  </a:cubicBezTo>
                  <a:cubicBezTo>
                    <a:pt x="274128" y="12130"/>
                    <a:pt x="348891" y="87461"/>
                    <a:pt x="348891" y="180028"/>
                  </a:cubicBezTo>
                  <a:cubicBezTo>
                    <a:pt x="348891" y="273234"/>
                    <a:pt x="273489" y="348565"/>
                    <a:pt x="180835" y="348565"/>
                  </a:cubicBezTo>
                  <a:close/>
                </a:path>
              </a:pathLst>
            </a:custGeom>
            <a:grpFill/>
            <a:ln w="6390" cap="flat">
              <a:noFill/>
              <a:prstDash val="solid"/>
              <a:miter/>
            </a:ln>
          </p:spPr>
          <p:txBody>
            <a:bodyPr rtlCol="0" anchor="ctr"/>
            <a:lstStyle/>
            <a:p>
              <a:endParaRPr lang="en-US" dirty="0"/>
            </a:p>
          </p:txBody>
        </p:sp>
        <p:sp>
          <p:nvSpPr>
            <p:cNvPr id="159" name="Graphic 1100">
              <a:extLst>
                <a:ext uri="{FF2B5EF4-FFF2-40B4-BE49-F238E27FC236}">
                  <a16:creationId xmlns:a16="http://schemas.microsoft.com/office/drawing/2014/main" id="{3CE8C0E6-25C6-688D-DD0F-C68227D109F0}"/>
                </a:ext>
              </a:extLst>
            </p:cNvPr>
            <p:cNvSpPr/>
            <p:nvPr/>
          </p:nvSpPr>
          <p:spPr>
            <a:xfrm>
              <a:off x="552090" y="1513330"/>
              <a:ext cx="192337" cy="117465"/>
            </a:xfrm>
            <a:custGeom>
              <a:avLst/>
              <a:gdLst>
                <a:gd name="connsiteX0" fmla="*/ 6390 w 192337"/>
                <a:gd name="connsiteY0" fmla="*/ 117465 h 117465"/>
                <a:gd name="connsiteX1" fmla="*/ 185947 w 192337"/>
                <a:gd name="connsiteY1" fmla="*/ 117465 h 117465"/>
                <a:gd name="connsiteX2" fmla="*/ 192337 w 192337"/>
                <a:gd name="connsiteY2" fmla="*/ 111081 h 117465"/>
                <a:gd name="connsiteX3" fmla="*/ 192337 w 192337"/>
                <a:gd name="connsiteY3" fmla="*/ 6384 h 117465"/>
                <a:gd name="connsiteX4" fmla="*/ 185947 w 192337"/>
                <a:gd name="connsiteY4" fmla="*/ 0 h 117465"/>
                <a:gd name="connsiteX5" fmla="*/ 6390 w 192337"/>
                <a:gd name="connsiteY5" fmla="*/ 0 h 117465"/>
                <a:gd name="connsiteX6" fmla="*/ 0 w 192337"/>
                <a:gd name="connsiteY6" fmla="*/ 6384 h 117465"/>
                <a:gd name="connsiteX7" fmla="*/ 0 w 192337"/>
                <a:gd name="connsiteY7" fmla="*/ 111081 h 117465"/>
                <a:gd name="connsiteX8" fmla="*/ 6390 w 192337"/>
                <a:gd name="connsiteY8" fmla="*/ 117465 h 117465"/>
                <a:gd name="connsiteX9" fmla="*/ 12780 w 192337"/>
                <a:gd name="connsiteY9" fmla="*/ 12768 h 117465"/>
                <a:gd name="connsiteX10" fmla="*/ 179557 w 192337"/>
                <a:gd name="connsiteY10" fmla="*/ 12768 h 117465"/>
                <a:gd name="connsiteX11" fmla="*/ 179557 w 192337"/>
                <a:gd name="connsiteY11" fmla="*/ 104697 h 117465"/>
                <a:gd name="connsiteX12" fmla="*/ 12780 w 192337"/>
                <a:gd name="connsiteY12" fmla="*/ 104697 h 117465"/>
                <a:gd name="connsiteX13" fmla="*/ 12780 w 192337"/>
                <a:gd name="connsiteY13" fmla="*/ 12768 h 11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337" h="117465">
                  <a:moveTo>
                    <a:pt x="6390" y="117465"/>
                  </a:moveTo>
                  <a:lnTo>
                    <a:pt x="185947" y="117465"/>
                  </a:lnTo>
                  <a:cubicBezTo>
                    <a:pt x="189781" y="117465"/>
                    <a:pt x="192337" y="114912"/>
                    <a:pt x="192337" y="111081"/>
                  </a:cubicBezTo>
                  <a:lnTo>
                    <a:pt x="192337" y="6384"/>
                  </a:lnTo>
                  <a:cubicBezTo>
                    <a:pt x="192337" y="2554"/>
                    <a:pt x="189781" y="0"/>
                    <a:pt x="185947" y="0"/>
                  </a:cubicBezTo>
                  <a:lnTo>
                    <a:pt x="6390" y="0"/>
                  </a:lnTo>
                  <a:cubicBezTo>
                    <a:pt x="2556" y="0"/>
                    <a:pt x="0" y="2554"/>
                    <a:pt x="0" y="6384"/>
                  </a:cubicBezTo>
                  <a:lnTo>
                    <a:pt x="0" y="111081"/>
                  </a:lnTo>
                  <a:cubicBezTo>
                    <a:pt x="0" y="114912"/>
                    <a:pt x="3195" y="117465"/>
                    <a:pt x="6390" y="117465"/>
                  </a:cubicBezTo>
                  <a:close/>
                  <a:moveTo>
                    <a:pt x="12780" y="12768"/>
                  </a:moveTo>
                  <a:lnTo>
                    <a:pt x="179557" y="12768"/>
                  </a:lnTo>
                  <a:lnTo>
                    <a:pt x="179557" y="104697"/>
                  </a:lnTo>
                  <a:lnTo>
                    <a:pt x="12780" y="104697"/>
                  </a:lnTo>
                  <a:lnTo>
                    <a:pt x="12780" y="12768"/>
                  </a:lnTo>
                  <a:close/>
                </a:path>
              </a:pathLst>
            </a:custGeom>
            <a:grpFill/>
            <a:ln w="6390" cap="flat">
              <a:noFill/>
              <a:prstDash val="solid"/>
              <a:miter/>
            </a:ln>
          </p:spPr>
          <p:txBody>
            <a:bodyPr rtlCol="0" anchor="ctr"/>
            <a:lstStyle/>
            <a:p>
              <a:endParaRPr lang="en-US" dirty="0"/>
            </a:p>
          </p:txBody>
        </p:sp>
        <p:sp>
          <p:nvSpPr>
            <p:cNvPr id="160" name="Graphic 1100">
              <a:extLst>
                <a:ext uri="{FF2B5EF4-FFF2-40B4-BE49-F238E27FC236}">
                  <a16:creationId xmlns:a16="http://schemas.microsoft.com/office/drawing/2014/main" id="{1B6E96EE-E865-0121-16B4-3E08E027E07A}"/>
                </a:ext>
              </a:extLst>
            </p:cNvPr>
            <p:cNvSpPr/>
            <p:nvPr/>
          </p:nvSpPr>
          <p:spPr>
            <a:xfrm>
              <a:off x="537393" y="1648032"/>
              <a:ext cx="222369" cy="12767"/>
            </a:xfrm>
            <a:custGeom>
              <a:avLst/>
              <a:gdLst>
                <a:gd name="connsiteX0" fmla="*/ 215980 w 222369"/>
                <a:gd name="connsiteY0" fmla="*/ 0 h 12767"/>
                <a:gd name="connsiteX1" fmla="*/ 6390 w 222369"/>
                <a:gd name="connsiteY1" fmla="*/ 0 h 12767"/>
                <a:gd name="connsiteX2" fmla="*/ 0 w 222369"/>
                <a:gd name="connsiteY2" fmla="*/ 6384 h 12767"/>
                <a:gd name="connsiteX3" fmla="*/ 6390 w 222369"/>
                <a:gd name="connsiteY3" fmla="*/ 12768 h 12767"/>
                <a:gd name="connsiteX4" fmla="*/ 215980 w 222369"/>
                <a:gd name="connsiteY4" fmla="*/ 12768 h 12767"/>
                <a:gd name="connsiteX5" fmla="*/ 222370 w 222369"/>
                <a:gd name="connsiteY5" fmla="*/ 6384 h 12767"/>
                <a:gd name="connsiteX6" fmla="*/ 215980 w 222369"/>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369" h="12767">
                  <a:moveTo>
                    <a:pt x="215980" y="0"/>
                  </a:moveTo>
                  <a:lnTo>
                    <a:pt x="6390" y="0"/>
                  </a:lnTo>
                  <a:cubicBezTo>
                    <a:pt x="2556" y="0"/>
                    <a:pt x="0" y="2554"/>
                    <a:pt x="0" y="6384"/>
                  </a:cubicBezTo>
                  <a:cubicBezTo>
                    <a:pt x="0" y="10214"/>
                    <a:pt x="2556" y="12768"/>
                    <a:pt x="6390" y="12768"/>
                  </a:cubicBezTo>
                  <a:lnTo>
                    <a:pt x="215980" y="12768"/>
                  </a:lnTo>
                  <a:cubicBezTo>
                    <a:pt x="219814" y="12768"/>
                    <a:pt x="222370" y="10214"/>
                    <a:pt x="222370" y="6384"/>
                  </a:cubicBezTo>
                  <a:cubicBezTo>
                    <a:pt x="222370" y="2554"/>
                    <a:pt x="219814" y="0"/>
                    <a:pt x="215980" y="0"/>
                  </a:cubicBezTo>
                  <a:close/>
                </a:path>
              </a:pathLst>
            </a:custGeom>
            <a:grpFill/>
            <a:ln w="6390" cap="flat">
              <a:noFill/>
              <a:prstDash val="solid"/>
              <a:miter/>
            </a:ln>
          </p:spPr>
          <p:txBody>
            <a:bodyPr rtlCol="0" anchor="ctr"/>
            <a:lstStyle/>
            <a:p>
              <a:endParaRPr lang="en-US" dirty="0"/>
            </a:p>
          </p:txBody>
        </p:sp>
      </p:grpSp>
      <p:grpSp>
        <p:nvGrpSpPr>
          <p:cNvPr id="161" name="Graphic 4">
            <a:extLst>
              <a:ext uri="{FF2B5EF4-FFF2-40B4-BE49-F238E27FC236}">
                <a16:creationId xmlns:a16="http://schemas.microsoft.com/office/drawing/2014/main" id="{62B89759-8B07-05F2-2E1F-8FF3FF536172}"/>
              </a:ext>
            </a:extLst>
          </p:cNvPr>
          <p:cNvGrpSpPr/>
          <p:nvPr/>
        </p:nvGrpSpPr>
        <p:grpSpPr>
          <a:xfrm>
            <a:off x="1891230" y="2440110"/>
            <a:ext cx="905976" cy="914400"/>
            <a:chOff x="3607758" y="1402085"/>
            <a:chExt cx="361674" cy="361333"/>
          </a:xfrm>
          <a:solidFill>
            <a:schemeClr val="bg1"/>
          </a:solidFill>
        </p:grpSpPr>
        <p:sp>
          <p:nvSpPr>
            <p:cNvPr id="162" name="Graphic 4">
              <a:extLst>
                <a:ext uri="{FF2B5EF4-FFF2-40B4-BE49-F238E27FC236}">
                  <a16:creationId xmlns:a16="http://schemas.microsoft.com/office/drawing/2014/main" id="{2AA89F72-CEA2-6BF5-796C-18C13E7BF212}"/>
                </a:ext>
              </a:extLst>
            </p:cNvPr>
            <p:cNvSpPr/>
            <p:nvPr/>
          </p:nvSpPr>
          <p:spPr>
            <a:xfrm>
              <a:off x="3607758" y="1402085"/>
              <a:ext cx="361674" cy="361333"/>
            </a:xfrm>
            <a:custGeom>
              <a:avLst/>
              <a:gdLst>
                <a:gd name="connsiteX0" fmla="*/ 180836 w 361674"/>
                <a:gd name="connsiteY0" fmla="*/ 0 h 361333"/>
                <a:gd name="connsiteX1" fmla="*/ 0 w 361674"/>
                <a:gd name="connsiteY1" fmla="*/ 180667 h 361333"/>
                <a:gd name="connsiteX2" fmla="*/ 180836 w 361674"/>
                <a:gd name="connsiteY2" fmla="*/ 361333 h 361333"/>
                <a:gd name="connsiteX3" fmla="*/ 361671 w 361674"/>
                <a:gd name="connsiteY3" fmla="*/ 180667 h 361333"/>
                <a:gd name="connsiteX4" fmla="*/ 180836 w 361674"/>
                <a:gd name="connsiteY4" fmla="*/ 0 h 361333"/>
                <a:gd name="connsiteX5" fmla="*/ 180836 w 361674"/>
                <a:gd name="connsiteY5" fmla="*/ 349204 h 361333"/>
                <a:gd name="connsiteX6" fmla="*/ 12780 w 361674"/>
                <a:gd name="connsiteY6" fmla="*/ 181305 h 361333"/>
                <a:gd name="connsiteX7" fmla="*/ 180836 w 361674"/>
                <a:gd name="connsiteY7" fmla="*/ 13406 h 361333"/>
                <a:gd name="connsiteX8" fmla="*/ 348891 w 361674"/>
                <a:gd name="connsiteY8" fmla="*/ 181305 h 361333"/>
                <a:gd name="connsiteX9" fmla="*/ 180836 w 361674"/>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4" h="361333">
                  <a:moveTo>
                    <a:pt x="180836" y="0"/>
                  </a:moveTo>
                  <a:cubicBezTo>
                    <a:pt x="80513" y="0"/>
                    <a:pt x="0" y="81077"/>
                    <a:pt x="0" y="180667"/>
                  </a:cubicBezTo>
                  <a:cubicBezTo>
                    <a:pt x="0" y="280895"/>
                    <a:pt x="81152" y="361333"/>
                    <a:pt x="180836" y="361333"/>
                  </a:cubicBezTo>
                  <a:cubicBezTo>
                    <a:pt x="281157" y="361333"/>
                    <a:pt x="361671" y="280257"/>
                    <a:pt x="361671" y="180667"/>
                  </a:cubicBezTo>
                  <a:cubicBezTo>
                    <a:pt x="362310" y="81077"/>
                    <a:pt x="281157" y="0"/>
                    <a:pt x="180836" y="0"/>
                  </a:cubicBezTo>
                  <a:close/>
                  <a:moveTo>
                    <a:pt x="180836" y="349204"/>
                  </a:moveTo>
                  <a:cubicBezTo>
                    <a:pt x="88181" y="349204"/>
                    <a:pt x="12780" y="273873"/>
                    <a:pt x="12780" y="181305"/>
                  </a:cubicBezTo>
                  <a:cubicBezTo>
                    <a:pt x="12780" y="88737"/>
                    <a:pt x="88181" y="13406"/>
                    <a:pt x="180836" y="13406"/>
                  </a:cubicBezTo>
                  <a:cubicBezTo>
                    <a:pt x="273490" y="13406"/>
                    <a:pt x="348891" y="88737"/>
                    <a:pt x="348891" y="181305"/>
                  </a:cubicBezTo>
                  <a:cubicBezTo>
                    <a:pt x="349530" y="273873"/>
                    <a:pt x="274128" y="349204"/>
                    <a:pt x="180836" y="349204"/>
                  </a:cubicBezTo>
                  <a:close/>
                </a:path>
              </a:pathLst>
            </a:custGeom>
            <a:grpFill/>
            <a:ln w="6390" cap="flat">
              <a:noFill/>
              <a:prstDash val="solid"/>
              <a:miter/>
            </a:ln>
          </p:spPr>
          <p:txBody>
            <a:bodyPr rtlCol="0" anchor="ctr"/>
            <a:lstStyle/>
            <a:p>
              <a:endParaRPr lang="en-US" dirty="0"/>
            </a:p>
          </p:txBody>
        </p:sp>
        <p:sp>
          <p:nvSpPr>
            <p:cNvPr id="163" name="Graphic 4">
              <a:extLst>
                <a:ext uri="{FF2B5EF4-FFF2-40B4-BE49-F238E27FC236}">
                  <a16:creationId xmlns:a16="http://schemas.microsoft.com/office/drawing/2014/main" id="{BF2B5C12-3766-8D78-00A7-C3D2EB4D0864}"/>
                </a:ext>
              </a:extLst>
            </p:cNvPr>
            <p:cNvSpPr/>
            <p:nvPr/>
          </p:nvSpPr>
          <p:spPr>
            <a:xfrm>
              <a:off x="3688271" y="1642122"/>
              <a:ext cx="12779" cy="27451"/>
            </a:xfrm>
            <a:custGeom>
              <a:avLst/>
              <a:gdLst>
                <a:gd name="connsiteX0" fmla="*/ 6390 w 12779"/>
                <a:gd name="connsiteY0" fmla="*/ 0 h 27451"/>
                <a:gd name="connsiteX1" fmla="*/ 0 w 12779"/>
                <a:gd name="connsiteY1" fmla="*/ 6384 h 27451"/>
                <a:gd name="connsiteX2" fmla="*/ 0 w 12779"/>
                <a:gd name="connsiteY2" fmla="*/ 21067 h 27451"/>
                <a:gd name="connsiteX3" fmla="*/ 6390 w 12779"/>
                <a:gd name="connsiteY3" fmla="*/ 27451 h 27451"/>
                <a:gd name="connsiteX4" fmla="*/ 12780 w 12779"/>
                <a:gd name="connsiteY4" fmla="*/ 21067 h 27451"/>
                <a:gd name="connsiteX5" fmla="*/ 12780 w 12779"/>
                <a:gd name="connsiteY5" fmla="*/ 6384 h 27451"/>
                <a:gd name="connsiteX6" fmla="*/ 6390 w 12779"/>
                <a:gd name="connsiteY6" fmla="*/ 0 h 2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7451">
                  <a:moveTo>
                    <a:pt x="6390" y="0"/>
                  </a:moveTo>
                  <a:cubicBezTo>
                    <a:pt x="2556" y="0"/>
                    <a:pt x="0" y="2554"/>
                    <a:pt x="0" y="6384"/>
                  </a:cubicBezTo>
                  <a:lnTo>
                    <a:pt x="0" y="21067"/>
                  </a:lnTo>
                  <a:cubicBezTo>
                    <a:pt x="0" y="24897"/>
                    <a:pt x="2556" y="27451"/>
                    <a:pt x="6390" y="27451"/>
                  </a:cubicBezTo>
                  <a:cubicBezTo>
                    <a:pt x="10224" y="27451"/>
                    <a:pt x="12780" y="24897"/>
                    <a:pt x="12780" y="21067"/>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dirty="0"/>
            </a:p>
          </p:txBody>
        </p:sp>
        <p:sp>
          <p:nvSpPr>
            <p:cNvPr id="164" name="Graphic 4">
              <a:extLst>
                <a:ext uri="{FF2B5EF4-FFF2-40B4-BE49-F238E27FC236}">
                  <a16:creationId xmlns:a16="http://schemas.microsoft.com/office/drawing/2014/main" id="{A3A90869-F0EC-1347-49F0-E6C05B0564C5}"/>
                </a:ext>
              </a:extLst>
            </p:cNvPr>
            <p:cNvSpPr/>
            <p:nvPr/>
          </p:nvSpPr>
          <p:spPr>
            <a:xfrm>
              <a:off x="3717026" y="1628078"/>
              <a:ext cx="12779" cy="42134"/>
            </a:xfrm>
            <a:custGeom>
              <a:avLst/>
              <a:gdLst>
                <a:gd name="connsiteX0" fmla="*/ 6390 w 12779"/>
                <a:gd name="connsiteY0" fmla="*/ 0 h 42134"/>
                <a:gd name="connsiteX1" fmla="*/ 0 w 12779"/>
                <a:gd name="connsiteY1" fmla="*/ 6384 h 42134"/>
                <a:gd name="connsiteX2" fmla="*/ 0 w 12779"/>
                <a:gd name="connsiteY2" fmla="*/ 35750 h 42134"/>
                <a:gd name="connsiteX3" fmla="*/ 6390 w 12779"/>
                <a:gd name="connsiteY3" fmla="*/ 42134 h 42134"/>
                <a:gd name="connsiteX4" fmla="*/ 12780 w 12779"/>
                <a:gd name="connsiteY4" fmla="*/ 35750 h 42134"/>
                <a:gd name="connsiteX5" fmla="*/ 12780 w 12779"/>
                <a:gd name="connsiteY5" fmla="*/ 6384 h 42134"/>
                <a:gd name="connsiteX6" fmla="*/ 6390 w 12779"/>
                <a:gd name="connsiteY6" fmla="*/ 0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2134">
                  <a:moveTo>
                    <a:pt x="6390" y="0"/>
                  </a:moveTo>
                  <a:cubicBezTo>
                    <a:pt x="2556" y="0"/>
                    <a:pt x="0" y="2554"/>
                    <a:pt x="0" y="6384"/>
                  </a:cubicBezTo>
                  <a:lnTo>
                    <a:pt x="0" y="35750"/>
                  </a:lnTo>
                  <a:cubicBezTo>
                    <a:pt x="0" y="39581"/>
                    <a:pt x="2556" y="42134"/>
                    <a:pt x="6390" y="42134"/>
                  </a:cubicBezTo>
                  <a:cubicBezTo>
                    <a:pt x="10224" y="42134"/>
                    <a:pt x="12780" y="39581"/>
                    <a:pt x="12780" y="35750"/>
                  </a:cubicBezTo>
                  <a:lnTo>
                    <a:pt x="12780" y="6384"/>
                  </a:lnTo>
                  <a:cubicBezTo>
                    <a:pt x="12780" y="2554"/>
                    <a:pt x="10224" y="0"/>
                    <a:pt x="6390" y="0"/>
                  </a:cubicBezTo>
                  <a:close/>
                </a:path>
              </a:pathLst>
            </a:custGeom>
            <a:grpFill/>
            <a:ln w="6390" cap="flat">
              <a:noFill/>
              <a:prstDash val="solid"/>
              <a:miter/>
            </a:ln>
          </p:spPr>
          <p:txBody>
            <a:bodyPr rtlCol="0" anchor="ctr"/>
            <a:lstStyle/>
            <a:p>
              <a:endParaRPr lang="en-US" dirty="0"/>
            </a:p>
          </p:txBody>
        </p:sp>
        <p:sp>
          <p:nvSpPr>
            <p:cNvPr id="165" name="Graphic 4">
              <a:extLst>
                <a:ext uri="{FF2B5EF4-FFF2-40B4-BE49-F238E27FC236}">
                  <a16:creationId xmlns:a16="http://schemas.microsoft.com/office/drawing/2014/main" id="{B1CE1D42-F485-C611-36E8-B4F19741CDC7}"/>
                </a:ext>
              </a:extLst>
            </p:cNvPr>
            <p:cNvSpPr/>
            <p:nvPr/>
          </p:nvSpPr>
          <p:spPr>
            <a:xfrm>
              <a:off x="3746420" y="1605734"/>
              <a:ext cx="12779" cy="63839"/>
            </a:xfrm>
            <a:custGeom>
              <a:avLst/>
              <a:gdLst>
                <a:gd name="connsiteX0" fmla="*/ 6390 w 12779"/>
                <a:gd name="connsiteY0" fmla="*/ 0 h 63839"/>
                <a:gd name="connsiteX1" fmla="*/ 0 w 12779"/>
                <a:gd name="connsiteY1" fmla="*/ 6384 h 63839"/>
                <a:gd name="connsiteX2" fmla="*/ 0 w 12779"/>
                <a:gd name="connsiteY2" fmla="*/ 57456 h 63839"/>
                <a:gd name="connsiteX3" fmla="*/ 6390 w 12779"/>
                <a:gd name="connsiteY3" fmla="*/ 63840 h 63839"/>
                <a:gd name="connsiteX4" fmla="*/ 12780 w 12779"/>
                <a:gd name="connsiteY4" fmla="*/ 57456 h 63839"/>
                <a:gd name="connsiteX5" fmla="*/ 12780 w 12779"/>
                <a:gd name="connsiteY5" fmla="*/ 6384 h 63839"/>
                <a:gd name="connsiteX6" fmla="*/ 6390 w 12779"/>
                <a:gd name="connsiteY6" fmla="*/ 0 h 6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3839">
                  <a:moveTo>
                    <a:pt x="6390" y="0"/>
                  </a:moveTo>
                  <a:cubicBezTo>
                    <a:pt x="2556" y="0"/>
                    <a:pt x="0" y="2554"/>
                    <a:pt x="0" y="6384"/>
                  </a:cubicBezTo>
                  <a:lnTo>
                    <a:pt x="0" y="57456"/>
                  </a:lnTo>
                  <a:cubicBezTo>
                    <a:pt x="0" y="61286"/>
                    <a:pt x="2556" y="63840"/>
                    <a:pt x="6390" y="63840"/>
                  </a:cubicBezTo>
                  <a:cubicBezTo>
                    <a:pt x="10224" y="63840"/>
                    <a:pt x="12780" y="61286"/>
                    <a:pt x="12780" y="57456"/>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dirty="0"/>
            </a:p>
          </p:txBody>
        </p:sp>
        <p:sp>
          <p:nvSpPr>
            <p:cNvPr id="166" name="Graphic 4">
              <a:extLst>
                <a:ext uri="{FF2B5EF4-FFF2-40B4-BE49-F238E27FC236}">
                  <a16:creationId xmlns:a16="http://schemas.microsoft.com/office/drawing/2014/main" id="{DBE43CC5-BD08-1DD6-CABF-A919A6591A1F}"/>
                </a:ext>
              </a:extLst>
            </p:cNvPr>
            <p:cNvSpPr/>
            <p:nvPr/>
          </p:nvSpPr>
          <p:spPr>
            <a:xfrm>
              <a:off x="3775174" y="1598711"/>
              <a:ext cx="12779" cy="70862"/>
            </a:xfrm>
            <a:custGeom>
              <a:avLst/>
              <a:gdLst>
                <a:gd name="connsiteX0" fmla="*/ 6390 w 12779"/>
                <a:gd name="connsiteY0" fmla="*/ 0 h 70862"/>
                <a:gd name="connsiteX1" fmla="*/ 0 w 12779"/>
                <a:gd name="connsiteY1" fmla="*/ 6384 h 70862"/>
                <a:gd name="connsiteX2" fmla="*/ 0 w 12779"/>
                <a:gd name="connsiteY2" fmla="*/ 64478 h 70862"/>
                <a:gd name="connsiteX3" fmla="*/ 6390 w 12779"/>
                <a:gd name="connsiteY3" fmla="*/ 70862 h 70862"/>
                <a:gd name="connsiteX4" fmla="*/ 12780 w 12779"/>
                <a:gd name="connsiteY4" fmla="*/ 64478 h 70862"/>
                <a:gd name="connsiteX5" fmla="*/ 12780 w 12779"/>
                <a:gd name="connsiteY5" fmla="*/ 6384 h 70862"/>
                <a:gd name="connsiteX6" fmla="*/ 6390 w 12779"/>
                <a:gd name="connsiteY6"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0862">
                  <a:moveTo>
                    <a:pt x="6390" y="0"/>
                  </a:moveTo>
                  <a:cubicBezTo>
                    <a:pt x="2556" y="0"/>
                    <a:pt x="0" y="2554"/>
                    <a:pt x="0" y="6384"/>
                  </a:cubicBezTo>
                  <a:lnTo>
                    <a:pt x="0" y="64478"/>
                  </a:lnTo>
                  <a:cubicBezTo>
                    <a:pt x="0" y="68309"/>
                    <a:pt x="2556" y="70862"/>
                    <a:pt x="6390" y="70862"/>
                  </a:cubicBezTo>
                  <a:cubicBezTo>
                    <a:pt x="10224" y="70862"/>
                    <a:pt x="12780" y="68309"/>
                    <a:pt x="12780" y="64478"/>
                  </a:cubicBezTo>
                  <a:lnTo>
                    <a:pt x="12780" y="6384"/>
                  </a:lnTo>
                  <a:cubicBezTo>
                    <a:pt x="12780" y="3192"/>
                    <a:pt x="10224" y="0"/>
                    <a:pt x="6390" y="0"/>
                  </a:cubicBezTo>
                  <a:close/>
                </a:path>
              </a:pathLst>
            </a:custGeom>
            <a:grpFill/>
            <a:ln w="6390" cap="flat">
              <a:noFill/>
              <a:prstDash val="solid"/>
              <a:miter/>
            </a:ln>
          </p:spPr>
          <p:txBody>
            <a:bodyPr rtlCol="0" anchor="ctr"/>
            <a:lstStyle/>
            <a:p>
              <a:endParaRPr lang="en-US" dirty="0"/>
            </a:p>
          </p:txBody>
        </p:sp>
        <p:sp>
          <p:nvSpPr>
            <p:cNvPr id="167" name="Graphic 4">
              <a:extLst>
                <a:ext uri="{FF2B5EF4-FFF2-40B4-BE49-F238E27FC236}">
                  <a16:creationId xmlns:a16="http://schemas.microsoft.com/office/drawing/2014/main" id="{76EC4F72-786D-16A6-5C78-7B51E511AE9A}"/>
                </a:ext>
              </a:extLst>
            </p:cNvPr>
            <p:cNvSpPr/>
            <p:nvPr/>
          </p:nvSpPr>
          <p:spPr>
            <a:xfrm>
              <a:off x="3804568" y="1598711"/>
              <a:ext cx="12779" cy="70862"/>
            </a:xfrm>
            <a:custGeom>
              <a:avLst/>
              <a:gdLst>
                <a:gd name="connsiteX0" fmla="*/ 6390 w 12779"/>
                <a:gd name="connsiteY0" fmla="*/ 0 h 70862"/>
                <a:gd name="connsiteX1" fmla="*/ 0 w 12779"/>
                <a:gd name="connsiteY1" fmla="*/ 6384 h 70862"/>
                <a:gd name="connsiteX2" fmla="*/ 0 w 12779"/>
                <a:gd name="connsiteY2" fmla="*/ 64478 h 70862"/>
                <a:gd name="connsiteX3" fmla="*/ 6390 w 12779"/>
                <a:gd name="connsiteY3" fmla="*/ 70862 h 70862"/>
                <a:gd name="connsiteX4" fmla="*/ 12780 w 12779"/>
                <a:gd name="connsiteY4" fmla="*/ 64478 h 70862"/>
                <a:gd name="connsiteX5" fmla="*/ 12780 w 12779"/>
                <a:gd name="connsiteY5" fmla="*/ 6384 h 70862"/>
                <a:gd name="connsiteX6" fmla="*/ 6390 w 12779"/>
                <a:gd name="connsiteY6" fmla="*/ 0 h 7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70862">
                  <a:moveTo>
                    <a:pt x="6390" y="0"/>
                  </a:moveTo>
                  <a:cubicBezTo>
                    <a:pt x="2556" y="0"/>
                    <a:pt x="0" y="2554"/>
                    <a:pt x="0" y="6384"/>
                  </a:cubicBezTo>
                  <a:lnTo>
                    <a:pt x="0" y="64478"/>
                  </a:lnTo>
                  <a:cubicBezTo>
                    <a:pt x="0" y="68309"/>
                    <a:pt x="2556" y="70862"/>
                    <a:pt x="6390" y="70862"/>
                  </a:cubicBezTo>
                  <a:cubicBezTo>
                    <a:pt x="10224" y="70862"/>
                    <a:pt x="12780" y="68309"/>
                    <a:pt x="12780" y="64478"/>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dirty="0"/>
            </a:p>
          </p:txBody>
        </p:sp>
        <p:sp>
          <p:nvSpPr>
            <p:cNvPr id="168" name="Graphic 4">
              <a:extLst>
                <a:ext uri="{FF2B5EF4-FFF2-40B4-BE49-F238E27FC236}">
                  <a16:creationId xmlns:a16="http://schemas.microsoft.com/office/drawing/2014/main" id="{83085DA4-656D-7977-06F5-820C669D0122}"/>
                </a:ext>
              </a:extLst>
            </p:cNvPr>
            <p:cNvSpPr/>
            <p:nvPr/>
          </p:nvSpPr>
          <p:spPr>
            <a:xfrm>
              <a:off x="3833323" y="1577006"/>
              <a:ext cx="12779" cy="92567"/>
            </a:xfrm>
            <a:custGeom>
              <a:avLst/>
              <a:gdLst>
                <a:gd name="connsiteX0" fmla="*/ 6390 w 12779"/>
                <a:gd name="connsiteY0" fmla="*/ 0 h 92567"/>
                <a:gd name="connsiteX1" fmla="*/ 0 w 12779"/>
                <a:gd name="connsiteY1" fmla="*/ 6384 h 92567"/>
                <a:gd name="connsiteX2" fmla="*/ 0 w 12779"/>
                <a:gd name="connsiteY2" fmla="*/ 86184 h 92567"/>
                <a:gd name="connsiteX3" fmla="*/ 6390 w 12779"/>
                <a:gd name="connsiteY3" fmla="*/ 92568 h 92567"/>
                <a:gd name="connsiteX4" fmla="*/ 12780 w 12779"/>
                <a:gd name="connsiteY4" fmla="*/ 86184 h 92567"/>
                <a:gd name="connsiteX5" fmla="*/ 12780 w 12779"/>
                <a:gd name="connsiteY5" fmla="*/ 6384 h 92567"/>
                <a:gd name="connsiteX6" fmla="*/ 6390 w 12779"/>
                <a:gd name="connsiteY6" fmla="*/ 0 h 9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92567">
                  <a:moveTo>
                    <a:pt x="6390" y="0"/>
                  </a:moveTo>
                  <a:cubicBezTo>
                    <a:pt x="2556" y="0"/>
                    <a:pt x="0" y="2554"/>
                    <a:pt x="0" y="6384"/>
                  </a:cubicBezTo>
                  <a:lnTo>
                    <a:pt x="0" y="86184"/>
                  </a:lnTo>
                  <a:cubicBezTo>
                    <a:pt x="0" y="90014"/>
                    <a:pt x="2556" y="92568"/>
                    <a:pt x="6390" y="92568"/>
                  </a:cubicBezTo>
                  <a:cubicBezTo>
                    <a:pt x="10224" y="92568"/>
                    <a:pt x="12780" y="90014"/>
                    <a:pt x="12780" y="86184"/>
                  </a:cubicBezTo>
                  <a:lnTo>
                    <a:pt x="12780" y="6384"/>
                  </a:lnTo>
                  <a:cubicBezTo>
                    <a:pt x="12780" y="2554"/>
                    <a:pt x="10224" y="0"/>
                    <a:pt x="6390" y="0"/>
                  </a:cubicBezTo>
                  <a:close/>
                </a:path>
              </a:pathLst>
            </a:custGeom>
            <a:grpFill/>
            <a:ln w="6390" cap="flat">
              <a:noFill/>
              <a:prstDash val="solid"/>
              <a:miter/>
            </a:ln>
          </p:spPr>
          <p:txBody>
            <a:bodyPr rtlCol="0" anchor="ctr"/>
            <a:lstStyle/>
            <a:p>
              <a:endParaRPr lang="en-US" dirty="0"/>
            </a:p>
          </p:txBody>
        </p:sp>
        <p:sp>
          <p:nvSpPr>
            <p:cNvPr id="169" name="Graphic 4">
              <a:extLst>
                <a:ext uri="{FF2B5EF4-FFF2-40B4-BE49-F238E27FC236}">
                  <a16:creationId xmlns:a16="http://schemas.microsoft.com/office/drawing/2014/main" id="{85E8CB63-AFC4-5FE3-E713-06A684EED82A}"/>
                </a:ext>
              </a:extLst>
            </p:cNvPr>
            <p:cNvSpPr/>
            <p:nvPr/>
          </p:nvSpPr>
          <p:spPr>
            <a:xfrm>
              <a:off x="3862716" y="1555300"/>
              <a:ext cx="12779" cy="114273"/>
            </a:xfrm>
            <a:custGeom>
              <a:avLst/>
              <a:gdLst>
                <a:gd name="connsiteX0" fmla="*/ 6390 w 12779"/>
                <a:gd name="connsiteY0" fmla="*/ 0 h 114273"/>
                <a:gd name="connsiteX1" fmla="*/ 0 w 12779"/>
                <a:gd name="connsiteY1" fmla="*/ 6384 h 114273"/>
                <a:gd name="connsiteX2" fmla="*/ 0 w 12779"/>
                <a:gd name="connsiteY2" fmla="*/ 107889 h 114273"/>
                <a:gd name="connsiteX3" fmla="*/ 6390 w 12779"/>
                <a:gd name="connsiteY3" fmla="*/ 114273 h 114273"/>
                <a:gd name="connsiteX4" fmla="*/ 12780 w 12779"/>
                <a:gd name="connsiteY4" fmla="*/ 107889 h 114273"/>
                <a:gd name="connsiteX5" fmla="*/ 12780 w 12779"/>
                <a:gd name="connsiteY5" fmla="*/ 6384 h 114273"/>
                <a:gd name="connsiteX6" fmla="*/ 6390 w 12779"/>
                <a:gd name="connsiteY6" fmla="*/ 0 h 114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14273">
                  <a:moveTo>
                    <a:pt x="6390" y="0"/>
                  </a:moveTo>
                  <a:cubicBezTo>
                    <a:pt x="2556" y="0"/>
                    <a:pt x="0" y="2554"/>
                    <a:pt x="0" y="6384"/>
                  </a:cubicBezTo>
                  <a:lnTo>
                    <a:pt x="0" y="107889"/>
                  </a:lnTo>
                  <a:cubicBezTo>
                    <a:pt x="0" y="111720"/>
                    <a:pt x="2556" y="114273"/>
                    <a:pt x="6390" y="114273"/>
                  </a:cubicBezTo>
                  <a:cubicBezTo>
                    <a:pt x="10224" y="114273"/>
                    <a:pt x="12780" y="111720"/>
                    <a:pt x="12780" y="107889"/>
                  </a:cubicBezTo>
                  <a:lnTo>
                    <a:pt x="12780" y="6384"/>
                  </a:lnTo>
                  <a:cubicBezTo>
                    <a:pt x="12780" y="2554"/>
                    <a:pt x="9585" y="0"/>
                    <a:pt x="6390" y="0"/>
                  </a:cubicBezTo>
                  <a:close/>
                </a:path>
              </a:pathLst>
            </a:custGeom>
            <a:grpFill/>
            <a:ln w="6390" cap="flat">
              <a:noFill/>
              <a:prstDash val="solid"/>
              <a:miter/>
            </a:ln>
          </p:spPr>
          <p:txBody>
            <a:bodyPr rtlCol="0" anchor="ctr"/>
            <a:lstStyle/>
            <a:p>
              <a:endParaRPr lang="en-US" dirty="0"/>
            </a:p>
          </p:txBody>
        </p:sp>
        <p:sp>
          <p:nvSpPr>
            <p:cNvPr id="170" name="Graphic 4">
              <a:extLst>
                <a:ext uri="{FF2B5EF4-FFF2-40B4-BE49-F238E27FC236}">
                  <a16:creationId xmlns:a16="http://schemas.microsoft.com/office/drawing/2014/main" id="{EB77D9A6-FAAB-B09B-CA97-BC66F19141A7}"/>
                </a:ext>
              </a:extLst>
            </p:cNvPr>
            <p:cNvSpPr/>
            <p:nvPr/>
          </p:nvSpPr>
          <p:spPr>
            <a:xfrm>
              <a:off x="3687157" y="1496568"/>
              <a:ext cx="201758" cy="128956"/>
            </a:xfrm>
            <a:custGeom>
              <a:avLst/>
              <a:gdLst>
                <a:gd name="connsiteX0" fmla="*/ 198563 w 201758"/>
                <a:gd name="connsiteY0" fmla="*/ 638 h 128956"/>
                <a:gd name="connsiteX1" fmla="*/ 196008 w 201758"/>
                <a:gd name="connsiteY1" fmla="*/ 0 h 128956"/>
                <a:gd name="connsiteX2" fmla="*/ 166614 w 201758"/>
                <a:gd name="connsiteY2" fmla="*/ 0 h 128956"/>
                <a:gd name="connsiteX3" fmla="*/ 160224 w 201758"/>
                <a:gd name="connsiteY3" fmla="*/ 6384 h 128956"/>
                <a:gd name="connsiteX4" fmla="*/ 166614 w 201758"/>
                <a:gd name="connsiteY4" fmla="*/ 12768 h 128956"/>
                <a:gd name="connsiteX5" fmla="*/ 180033 w 201758"/>
                <a:gd name="connsiteY5" fmla="*/ 12768 h 128956"/>
                <a:gd name="connsiteX6" fmla="*/ 119967 w 201758"/>
                <a:gd name="connsiteY6" fmla="*/ 72777 h 128956"/>
                <a:gd name="connsiteX7" fmla="*/ 64375 w 201758"/>
                <a:gd name="connsiteY7" fmla="*/ 72777 h 128956"/>
                <a:gd name="connsiteX8" fmla="*/ 60541 w 201758"/>
                <a:gd name="connsiteY8" fmla="*/ 74054 h 128956"/>
                <a:gd name="connsiteX9" fmla="*/ 2393 w 201758"/>
                <a:gd name="connsiteY9" fmla="*/ 117465 h 128956"/>
                <a:gd name="connsiteX10" fmla="*/ 1115 w 201758"/>
                <a:gd name="connsiteY10" fmla="*/ 126403 h 128956"/>
                <a:gd name="connsiteX11" fmla="*/ 6226 w 201758"/>
                <a:gd name="connsiteY11" fmla="*/ 128956 h 128956"/>
                <a:gd name="connsiteX12" fmla="*/ 10060 w 201758"/>
                <a:gd name="connsiteY12" fmla="*/ 127680 h 128956"/>
                <a:gd name="connsiteX13" fmla="*/ 66292 w 201758"/>
                <a:gd name="connsiteY13" fmla="*/ 85545 h 128956"/>
                <a:gd name="connsiteX14" fmla="*/ 122523 w 201758"/>
                <a:gd name="connsiteY14" fmla="*/ 85545 h 128956"/>
                <a:gd name="connsiteX15" fmla="*/ 126996 w 201758"/>
                <a:gd name="connsiteY15" fmla="*/ 83630 h 128956"/>
                <a:gd name="connsiteX16" fmla="*/ 188979 w 201758"/>
                <a:gd name="connsiteY16" fmla="*/ 21706 h 128956"/>
                <a:gd name="connsiteX17" fmla="*/ 188979 w 201758"/>
                <a:gd name="connsiteY17" fmla="*/ 35112 h 128956"/>
                <a:gd name="connsiteX18" fmla="*/ 195368 w 201758"/>
                <a:gd name="connsiteY18" fmla="*/ 41496 h 128956"/>
                <a:gd name="connsiteX19" fmla="*/ 201758 w 201758"/>
                <a:gd name="connsiteY19" fmla="*/ 35112 h 128956"/>
                <a:gd name="connsiteX20" fmla="*/ 201758 w 201758"/>
                <a:gd name="connsiteY20" fmla="*/ 5746 h 128956"/>
                <a:gd name="connsiteX21" fmla="*/ 201120 w 201758"/>
                <a:gd name="connsiteY21" fmla="*/ 3192 h 128956"/>
                <a:gd name="connsiteX22" fmla="*/ 198563 w 201758"/>
                <a:gd name="connsiteY22" fmla="*/ 638 h 1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1758" h="128956">
                  <a:moveTo>
                    <a:pt x="198563" y="638"/>
                  </a:moveTo>
                  <a:cubicBezTo>
                    <a:pt x="197925" y="0"/>
                    <a:pt x="196647" y="0"/>
                    <a:pt x="196008" y="0"/>
                  </a:cubicBezTo>
                  <a:lnTo>
                    <a:pt x="166614" y="0"/>
                  </a:lnTo>
                  <a:cubicBezTo>
                    <a:pt x="162780" y="0"/>
                    <a:pt x="160224" y="2554"/>
                    <a:pt x="160224" y="6384"/>
                  </a:cubicBezTo>
                  <a:cubicBezTo>
                    <a:pt x="160224" y="10214"/>
                    <a:pt x="162780" y="12768"/>
                    <a:pt x="166614" y="12768"/>
                  </a:cubicBezTo>
                  <a:lnTo>
                    <a:pt x="180033" y="12768"/>
                  </a:lnTo>
                  <a:lnTo>
                    <a:pt x="119967" y="72777"/>
                  </a:lnTo>
                  <a:lnTo>
                    <a:pt x="64375" y="72777"/>
                  </a:lnTo>
                  <a:cubicBezTo>
                    <a:pt x="63097" y="72777"/>
                    <a:pt x="61819" y="73416"/>
                    <a:pt x="60541" y="74054"/>
                  </a:cubicBezTo>
                  <a:lnTo>
                    <a:pt x="2393" y="117465"/>
                  </a:lnTo>
                  <a:cubicBezTo>
                    <a:pt x="-163" y="119380"/>
                    <a:pt x="-802" y="123849"/>
                    <a:pt x="1115" y="126403"/>
                  </a:cubicBezTo>
                  <a:cubicBezTo>
                    <a:pt x="2393" y="128318"/>
                    <a:pt x="4310" y="128956"/>
                    <a:pt x="6226" y="128956"/>
                  </a:cubicBezTo>
                  <a:cubicBezTo>
                    <a:pt x="7505" y="128956"/>
                    <a:pt x="8783" y="128318"/>
                    <a:pt x="10060" y="127680"/>
                  </a:cubicBezTo>
                  <a:lnTo>
                    <a:pt x="66292" y="85545"/>
                  </a:lnTo>
                  <a:lnTo>
                    <a:pt x="122523" y="85545"/>
                  </a:lnTo>
                  <a:cubicBezTo>
                    <a:pt x="124440" y="85545"/>
                    <a:pt x="125718" y="84907"/>
                    <a:pt x="126996" y="83630"/>
                  </a:cubicBezTo>
                  <a:lnTo>
                    <a:pt x="188979" y="21706"/>
                  </a:lnTo>
                  <a:lnTo>
                    <a:pt x="188979" y="35112"/>
                  </a:lnTo>
                  <a:cubicBezTo>
                    <a:pt x="188979" y="38942"/>
                    <a:pt x="191535" y="41496"/>
                    <a:pt x="195368" y="41496"/>
                  </a:cubicBezTo>
                  <a:cubicBezTo>
                    <a:pt x="199203" y="41496"/>
                    <a:pt x="201758" y="38942"/>
                    <a:pt x="201758" y="35112"/>
                  </a:cubicBezTo>
                  <a:lnTo>
                    <a:pt x="201758" y="5746"/>
                  </a:lnTo>
                  <a:cubicBezTo>
                    <a:pt x="201758" y="5107"/>
                    <a:pt x="201758" y="3830"/>
                    <a:pt x="201120" y="3192"/>
                  </a:cubicBezTo>
                  <a:cubicBezTo>
                    <a:pt x="201758" y="2554"/>
                    <a:pt x="200481" y="1277"/>
                    <a:pt x="198563" y="638"/>
                  </a:cubicBezTo>
                  <a:close/>
                </a:path>
              </a:pathLst>
            </a:custGeom>
            <a:grpFill/>
            <a:ln w="6390"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47836316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505F85-3D42-0670-6F18-AA1B31AFA62D}"/>
              </a:ext>
            </a:extLst>
          </p:cNvPr>
          <p:cNvSpPr txBox="1"/>
          <p:nvPr/>
        </p:nvSpPr>
        <p:spPr>
          <a:xfrm>
            <a:off x="430550" y="323577"/>
            <a:ext cx="7248633" cy="461665"/>
          </a:xfrm>
          <a:prstGeom prst="rect">
            <a:avLst/>
          </a:prstGeom>
          <a:noFill/>
        </p:spPr>
        <p:txBody>
          <a:bodyPr wrap="square" rtlCol="0">
            <a:spAutoFit/>
          </a:bodyPr>
          <a:lstStyle/>
          <a:p>
            <a:r>
              <a:rPr lang="en-NZ" sz="2400" dirty="0">
                <a:solidFill>
                  <a:schemeClr val="bg1"/>
                </a:solidFill>
              </a:rPr>
              <a:t>Questions? </a:t>
            </a:r>
          </a:p>
        </p:txBody>
      </p:sp>
      <p:sp>
        <p:nvSpPr>
          <p:cNvPr id="6" name="Rectangle 5">
            <a:extLst>
              <a:ext uri="{FF2B5EF4-FFF2-40B4-BE49-F238E27FC236}">
                <a16:creationId xmlns:a16="http://schemas.microsoft.com/office/drawing/2014/main" id="{25BBDF71-1340-73F4-2003-C703C1AE313C}"/>
              </a:ext>
            </a:extLst>
          </p:cNvPr>
          <p:cNvSpPr/>
          <p:nvPr/>
        </p:nvSpPr>
        <p:spPr>
          <a:xfrm>
            <a:off x="1873220" y="1735450"/>
            <a:ext cx="2448663" cy="115416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0" normalizeH="0" baseline="0" noProof="0" dirty="0">
                <a:ln>
                  <a:noFill/>
                </a:ln>
                <a:solidFill>
                  <a:schemeClr val="bg1"/>
                </a:solidFill>
                <a:effectLst/>
                <a:uLnTx/>
                <a:uFillTx/>
                <a:latin typeface="Calibri"/>
                <a:ea typeface="+mn-ea"/>
                <a:cs typeface="+mn-cs"/>
              </a:rPr>
              <a:t>Jason Wei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NZ" sz="1400" b="0" i="0" u="none" strike="noStrike" kern="1200" cap="none" spc="0" normalizeH="0" baseline="0" noProof="0" dirty="0">
                <a:ln>
                  <a:noFill/>
                </a:ln>
                <a:solidFill>
                  <a:schemeClr val="bg1"/>
                </a:solidFill>
                <a:effectLst/>
                <a:uLnTx/>
                <a:uFillTx/>
                <a:latin typeface="Calibri"/>
                <a:ea typeface="+mn-ea"/>
                <a:cs typeface="+mn-cs"/>
              </a:rPr>
              <a:t>Partner, Auck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schemeClr val="bg1"/>
                </a:solidFill>
                <a:effectLst/>
                <a:uLnTx/>
                <a:uFillTx/>
                <a:latin typeface="Calibri"/>
                <a:ea typeface="+mn-ea"/>
                <a:cs typeface="+mn-cs"/>
              </a:rPr>
              <a:t>DDI: +64 9 303 096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schemeClr val="bg1"/>
                </a:solidFill>
                <a:effectLst/>
                <a:uLnTx/>
                <a:uFillTx/>
                <a:latin typeface="Calibri"/>
                <a:ea typeface="+mn-ea"/>
                <a:cs typeface="+mn-cs"/>
              </a:rPr>
              <a:t>Mobile: +64 21 535 70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schemeClr val="bg1"/>
                </a:solidFill>
                <a:effectLst/>
                <a:uLnTx/>
                <a:uFillTx/>
                <a:latin typeface="Calibri"/>
                <a:ea typeface="+mn-ea"/>
                <a:cs typeface="+mn-cs"/>
              </a:rPr>
              <a:t>Email: jasweir@deloitte.co.nz</a:t>
            </a:r>
            <a:endParaRPr kumimoji="0" lang="en-NZ" sz="1050" b="0" i="0" u="none" strike="noStrike" kern="1200" cap="none" spc="0" normalizeH="0" baseline="0" noProof="0" dirty="0">
              <a:ln>
                <a:noFill/>
              </a:ln>
              <a:solidFill>
                <a:schemeClr val="bg1"/>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BF4EE48A-DF93-4CA5-505D-D87DE37D5004}"/>
              </a:ext>
            </a:extLst>
          </p:cNvPr>
          <p:cNvPicPr>
            <a:picLocks noChangeAspect="1"/>
          </p:cNvPicPr>
          <p:nvPr/>
        </p:nvPicPr>
        <p:blipFill rotWithShape="1">
          <a:blip r:embed="rId3"/>
          <a:srcRect l="31281" t="6075" r="36575" b="46992"/>
          <a:stretch/>
        </p:blipFill>
        <p:spPr>
          <a:xfrm>
            <a:off x="501650" y="1768139"/>
            <a:ext cx="1247321" cy="1246495"/>
          </a:xfrm>
          <a:prstGeom prst="rect">
            <a:avLst/>
          </a:prstGeom>
        </p:spPr>
      </p:pic>
      <p:pic>
        <p:nvPicPr>
          <p:cNvPr id="9" name="Picture 8">
            <a:extLst>
              <a:ext uri="{FF2B5EF4-FFF2-40B4-BE49-F238E27FC236}">
                <a16:creationId xmlns:a16="http://schemas.microsoft.com/office/drawing/2014/main" id="{A9C86958-D800-3826-348F-E3AF4EAE2AA4}"/>
              </a:ext>
            </a:extLst>
          </p:cNvPr>
          <p:cNvPicPr>
            <a:picLocks noChangeAspect="1"/>
          </p:cNvPicPr>
          <p:nvPr/>
        </p:nvPicPr>
        <p:blipFill>
          <a:blip r:embed="rId4"/>
          <a:srcRect/>
          <a:stretch/>
        </p:blipFill>
        <p:spPr>
          <a:xfrm>
            <a:off x="5309257" y="1768139"/>
            <a:ext cx="1246495" cy="1246495"/>
          </a:xfrm>
          <a:prstGeom prst="rect">
            <a:avLst/>
          </a:prstGeom>
        </p:spPr>
      </p:pic>
      <p:sp>
        <p:nvSpPr>
          <p:cNvPr id="11" name="Rectangle 10">
            <a:extLst>
              <a:ext uri="{FF2B5EF4-FFF2-40B4-BE49-F238E27FC236}">
                <a16:creationId xmlns:a16="http://schemas.microsoft.com/office/drawing/2014/main" id="{E25F63AB-9BFA-6064-AE60-630479D10A3D}"/>
              </a:ext>
            </a:extLst>
          </p:cNvPr>
          <p:cNvSpPr/>
          <p:nvPr/>
        </p:nvSpPr>
        <p:spPr>
          <a:xfrm>
            <a:off x="6668588" y="1738326"/>
            <a:ext cx="2666054" cy="115416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400" b="1" dirty="0">
                <a:solidFill>
                  <a:schemeClr val="bg1"/>
                </a:solidFill>
                <a:latin typeface="Calibri"/>
              </a:rPr>
              <a:t>Catherine Davidson</a:t>
            </a:r>
            <a:endParaRPr kumimoji="0" lang="en-NZ" sz="1400" b="1" i="0" u="none" strike="noStrike" kern="1200" cap="none" spc="0" normalizeH="0" baseline="0" noProof="0" dirty="0">
              <a:ln>
                <a:noFill/>
              </a:ln>
              <a:solidFill>
                <a:schemeClr val="bg1"/>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NZ" sz="1400" b="0" i="0" u="none" strike="noStrike" kern="1200" cap="none" spc="0" normalizeH="0" baseline="0" noProof="0" dirty="0">
                <a:ln>
                  <a:noFill/>
                </a:ln>
                <a:solidFill>
                  <a:schemeClr val="bg1"/>
                </a:solidFill>
                <a:effectLst/>
                <a:uLnTx/>
                <a:uFillTx/>
                <a:latin typeface="Calibri"/>
                <a:ea typeface="+mn-ea"/>
                <a:cs typeface="+mn-cs"/>
              </a:rPr>
              <a:t>Director, Auck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schemeClr val="bg1"/>
                </a:solidFill>
                <a:effectLst/>
                <a:uLnTx/>
                <a:uFillTx/>
                <a:latin typeface="Calibri"/>
                <a:ea typeface="+mn-ea"/>
                <a:cs typeface="+mn-cs"/>
              </a:rPr>
              <a:t>DDI: +64 9 952 420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schemeClr val="bg1"/>
                </a:solidFill>
                <a:effectLst/>
                <a:uLnTx/>
                <a:uFillTx/>
                <a:latin typeface="Calibri"/>
                <a:ea typeface="+mn-ea"/>
                <a:cs typeface="+mn-cs"/>
              </a:rPr>
              <a:t>Mobile: +64 21 241 548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schemeClr val="bg1"/>
                </a:solidFill>
                <a:effectLst/>
                <a:uLnTx/>
                <a:uFillTx/>
                <a:latin typeface="Calibri"/>
                <a:ea typeface="+mn-ea"/>
                <a:cs typeface="+mn-cs"/>
              </a:rPr>
              <a:t>Email: catdavidson@deloitte.co.nz</a:t>
            </a:r>
            <a:endParaRPr kumimoji="0" lang="en-NZ" sz="1100" b="0" i="0" u="none" strike="noStrike" kern="1200" cap="none" spc="0" normalizeH="0" baseline="0" noProof="0" dirty="0">
              <a:ln>
                <a:noFill/>
              </a:ln>
              <a:solidFill>
                <a:schemeClr val="bg1"/>
              </a:solidFill>
              <a:effectLst/>
              <a:uLnTx/>
              <a:uFillTx/>
              <a:latin typeface="Calibri"/>
              <a:ea typeface="+mn-ea"/>
              <a:cs typeface="+mn-cs"/>
            </a:endParaRPr>
          </a:p>
        </p:txBody>
      </p:sp>
      <p:pic>
        <p:nvPicPr>
          <p:cNvPr id="17" name="Picture 16">
            <a:extLst>
              <a:ext uri="{FF2B5EF4-FFF2-40B4-BE49-F238E27FC236}">
                <a16:creationId xmlns:a16="http://schemas.microsoft.com/office/drawing/2014/main" id="{F0FE7BBD-9A08-D2B8-BD5A-B1CAD6DEB14F}"/>
              </a:ext>
            </a:extLst>
          </p:cNvPr>
          <p:cNvPicPr>
            <a:picLocks noChangeAspect="1"/>
          </p:cNvPicPr>
          <p:nvPr/>
        </p:nvPicPr>
        <p:blipFill>
          <a:blip r:embed="rId5">
            <a:extLst>
              <a:ext uri="{28A0092B-C50C-407E-A947-70E740481C1C}">
                <a14:useLocalDpi xmlns:a14="http://schemas.microsoft.com/office/drawing/2010/main" val="0"/>
              </a:ext>
            </a:extLst>
          </a:blip>
          <a:srcRect l="862" r="862"/>
          <a:stretch/>
        </p:blipFill>
        <p:spPr>
          <a:xfrm>
            <a:off x="501650" y="3900071"/>
            <a:ext cx="1246495" cy="1268357"/>
          </a:xfrm>
          <a:prstGeom prst="rect">
            <a:avLst/>
          </a:prstGeom>
        </p:spPr>
      </p:pic>
      <p:sp>
        <p:nvSpPr>
          <p:cNvPr id="20" name="Rectangle 19">
            <a:extLst>
              <a:ext uri="{FF2B5EF4-FFF2-40B4-BE49-F238E27FC236}">
                <a16:creationId xmlns:a16="http://schemas.microsoft.com/office/drawing/2014/main" id="{B8EF79F9-A032-3212-C912-DAC0FC8A495B}"/>
              </a:ext>
            </a:extLst>
          </p:cNvPr>
          <p:cNvSpPr/>
          <p:nvPr/>
        </p:nvSpPr>
        <p:spPr>
          <a:xfrm>
            <a:off x="1873220" y="3883987"/>
            <a:ext cx="2666054" cy="115416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0" normalizeH="0" baseline="0" noProof="0" dirty="0">
                <a:ln>
                  <a:noFill/>
                </a:ln>
                <a:solidFill>
                  <a:schemeClr val="bg1"/>
                </a:solidFill>
                <a:effectLst/>
                <a:uLnTx/>
                <a:uFillTx/>
                <a:latin typeface="Calibri"/>
                <a:ea typeface="+mn-ea"/>
                <a:cs typeface="+mn-cs"/>
              </a:rPr>
              <a:t>Nadia Ali</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NZ" sz="1400" b="0" i="0" u="none" strike="noStrike" kern="1200" cap="none" spc="0" normalizeH="0" baseline="0" noProof="0" dirty="0">
                <a:ln>
                  <a:noFill/>
                </a:ln>
                <a:solidFill>
                  <a:schemeClr val="bg1"/>
                </a:solidFill>
                <a:effectLst/>
                <a:uLnTx/>
                <a:uFillTx/>
                <a:latin typeface="Calibri"/>
                <a:ea typeface="+mn-ea"/>
                <a:cs typeface="+mn-cs"/>
              </a:rPr>
              <a:t>Director, Wellingt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schemeClr val="bg1"/>
                </a:solidFill>
                <a:effectLst/>
                <a:uLnTx/>
                <a:uFillTx/>
                <a:latin typeface="Calibri"/>
                <a:ea typeface="+mn-ea"/>
                <a:cs typeface="+mn-cs"/>
              </a:rPr>
              <a:t>DDI: +64 4 470 36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schemeClr val="bg1"/>
                </a:solidFill>
                <a:effectLst/>
                <a:uLnTx/>
                <a:uFillTx/>
                <a:latin typeface="Calibri"/>
                <a:ea typeface="+mn-ea"/>
                <a:cs typeface="+mn-cs"/>
              </a:rPr>
              <a:t>Mobile: +64 22 457 31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dirty="0">
                <a:ln>
                  <a:noFill/>
                </a:ln>
                <a:solidFill>
                  <a:schemeClr val="bg1"/>
                </a:solidFill>
                <a:effectLst/>
                <a:uLnTx/>
                <a:uFillTx/>
                <a:latin typeface="Calibri"/>
                <a:ea typeface="+mn-ea"/>
                <a:cs typeface="+mn-cs"/>
              </a:rPr>
              <a:t>Email: nadiaali@deloitte.co.nz</a:t>
            </a:r>
            <a:endParaRPr kumimoji="0" lang="en-NZ" sz="1000" b="0" i="0" u="none" strike="noStrike" kern="1200" cap="none" spc="0" normalizeH="0" baseline="0" noProof="0" dirty="0">
              <a:ln>
                <a:noFill/>
              </a:ln>
              <a:solidFill>
                <a:schemeClr val="bg1"/>
              </a:solidFill>
              <a:effectLst/>
              <a:uLnTx/>
              <a:uFillTx/>
              <a:latin typeface="Calibri"/>
              <a:ea typeface="+mn-ea"/>
              <a:cs typeface="+mn-cs"/>
            </a:endParaRPr>
          </a:p>
        </p:txBody>
      </p:sp>
    </p:spTree>
    <p:extLst>
      <p:ext uri="{BB962C8B-B14F-4D97-AF65-F5344CB8AC3E}">
        <p14:creationId xmlns:p14="http://schemas.microsoft.com/office/powerpoint/2010/main" val="371394108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AB9911-A7D1-35CD-CFF7-D7A4B6101910}"/>
              </a:ext>
            </a:extLst>
          </p:cNvPr>
          <p:cNvSpPr txBox="1"/>
          <p:nvPr/>
        </p:nvSpPr>
        <p:spPr>
          <a:xfrm>
            <a:off x="562615" y="1261738"/>
            <a:ext cx="8771201" cy="2251065"/>
          </a:xfrm>
          <a:prstGeom prst="rect">
            <a:avLst/>
          </a:prstGeom>
          <a:noFill/>
        </p:spPr>
        <p:txBody>
          <a:bodyPr wrap="square" lIns="91440" tIns="45720" rIns="91440" bIns="45720" rtlCol="0" anchor="t">
            <a:spAutoFit/>
          </a:bodyPr>
          <a:lstStyle/>
          <a:p>
            <a:pPr marL="457200" indent="-457200">
              <a:lnSpc>
                <a:spcPct val="150000"/>
              </a:lnSpc>
              <a:buAutoNum type="arabicPeriod"/>
            </a:pPr>
            <a:r>
              <a:rPr lang="en-US" sz="2400" dirty="0">
                <a:solidFill>
                  <a:schemeClr val="bg1"/>
                </a:solidFill>
              </a:rPr>
              <a:t>Open the conference app</a:t>
            </a:r>
          </a:p>
          <a:p>
            <a:pPr marL="457200" indent="-457200">
              <a:lnSpc>
                <a:spcPct val="150000"/>
              </a:lnSpc>
              <a:buAutoNum type="arabicPeriod"/>
            </a:pPr>
            <a:r>
              <a:rPr lang="en-US" sz="2400" dirty="0">
                <a:solidFill>
                  <a:schemeClr val="bg1"/>
                </a:solidFill>
              </a:rPr>
              <a:t>Go to </a:t>
            </a:r>
            <a:r>
              <a:rPr lang="en-US" sz="2400" dirty="0" err="1">
                <a:solidFill>
                  <a:schemeClr val="bg1"/>
                </a:solidFill>
              </a:rPr>
              <a:t>Programme</a:t>
            </a:r>
            <a:endParaRPr lang="en-US" sz="2400" dirty="0">
              <a:solidFill>
                <a:schemeClr val="bg1"/>
              </a:solidFill>
            </a:endParaRPr>
          </a:p>
          <a:p>
            <a:pPr marL="457200" indent="-457200">
              <a:lnSpc>
                <a:spcPct val="150000"/>
              </a:lnSpc>
              <a:buAutoNum type="arabicPeriod"/>
            </a:pPr>
            <a:r>
              <a:rPr lang="en-US" sz="2400" dirty="0">
                <a:solidFill>
                  <a:schemeClr val="bg1"/>
                </a:solidFill>
              </a:rPr>
              <a:t>Tap on Session 4A</a:t>
            </a:r>
          </a:p>
          <a:p>
            <a:pPr marL="457200" indent="-457200">
              <a:lnSpc>
                <a:spcPct val="150000"/>
              </a:lnSpc>
              <a:buAutoNum type="arabicPeriod"/>
            </a:pPr>
            <a:r>
              <a:rPr lang="en-US" sz="2400" dirty="0">
                <a:solidFill>
                  <a:schemeClr val="bg1"/>
                </a:solidFill>
              </a:rPr>
              <a:t>Click Live Q&amp;A</a:t>
            </a:r>
            <a:endParaRPr lang="en-NZ" sz="2400" dirty="0">
              <a:solidFill>
                <a:schemeClr val="bg1"/>
              </a:solidFill>
            </a:endParaRPr>
          </a:p>
        </p:txBody>
      </p:sp>
    </p:spTree>
    <p:custDataLst>
      <p:tags r:id="rId1"/>
    </p:custDataLst>
    <p:extLst>
      <p:ext uri="{BB962C8B-B14F-4D97-AF65-F5344CB8AC3E}">
        <p14:creationId xmlns:p14="http://schemas.microsoft.com/office/powerpoint/2010/main" val="33139132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custData r:id="rId1"/>
      <p:custData r:id="rId2"/>
    </p:custDataLst>
    <p:extLst>
      <p:ext uri="{BB962C8B-B14F-4D97-AF65-F5344CB8AC3E}">
        <p14:creationId xmlns:p14="http://schemas.microsoft.com/office/powerpoint/2010/main" val="38255319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AB9911-A7D1-35CD-CFF7-D7A4B6101910}"/>
              </a:ext>
            </a:extLst>
          </p:cNvPr>
          <p:cNvSpPr txBox="1"/>
          <p:nvPr/>
        </p:nvSpPr>
        <p:spPr>
          <a:xfrm>
            <a:off x="483101" y="2772487"/>
            <a:ext cx="8771201" cy="1200329"/>
          </a:xfrm>
          <a:prstGeom prst="rect">
            <a:avLst/>
          </a:prstGeom>
          <a:noFill/>
        </p:spPr>
        <p:txBody>
          <a:bodyPr wrap="square" lIns="91440" tIns="45720" rIns="91440" bIns="45720" rtlCol="0" anchor="t">
            <a:spAutoFit/>
          </a:bodyPr>
          <a:lstStyle/>
          <a:p>
            <a:r>
              <a:rPr lang="en-NZ" sz="2400" dirty="0">
                <a:solidFill>
                  <a:schemeClr val="bg1"/>
                </a:solidFill>
              </a:rPr>
              <a:t>Who has experience working on a remediation project?</a:t>
            </a:r>
          </a:p>
          <a:p>
            <a:endParaRPr lang="en-NZ" sz="2400" dirty="0">
              <a:solidFill>
                <a:schemeClr val="bg1"/>
              </a:solidFill>
            </a:endParaRPr>
          </a:p>
          <a:p>
            <a:endParaRPr lang="en-NZ" sz="2400" dirty="0">
              <a:solidFill>
                <a:schemeClr val="bg1"/>
              </a:solidFill>
            </a:endParaRPr>
          </a:p>
        </p:txBody>
      </p:sp>
    </p:spTree>
    <p:custDataLst>
      <p:tags r:id="rId1"/>
    </p:custDataLst>
    <p:extLst>
      <p:ext uri="{BB962C8B-B14F-4D97-AF65-F5344CB8AC3E}">
        <p14:creationId xmlns:p14="http://schemas.microsoft.com/office/powerpoint/2010/main" val="5609663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2AB9911-A7D1-35CD-CFF7-D7A4B6101910}"/>
              </a:ext>
            </a:extLst>
          </p:cNvPr>
          <p:cNvSpPr txBox="1"/>
          <p:nvPr/>
        </p:nvSpPr>
        <p:spPr>
          <a:xfrm>
            <a:off x="483101" y="2772487"/>
            <a:ext cx="8771201" cy="1569660"/>
          </a:xfrm>
          <a:prstGeom prst="rect">
            <a:avLst/>
          </a:prstGeom>
          <a:noFill/>
        </p:spPr>
        <p:txBody>
          <a:bodyPr wrap="square" lIns="91440" tIns="45720" rIns="91440" bIns="45720" rtlCol="0" anchor="t">
            <a:spAutoFit/>
          </a:bodyPr>
          <a:lstStyle/>
          <a:p>
            <a:r>
              <a:rPr lang="en-NZ" sz="2400" dirty="0">
                <a:solidFill>
                  <a:schemeClr val="bg1"/>
                </a:solidFill>
              </a:rPr>
              <a:t>What is your level of confidence in knowing the steps to take for a successful remediation?</a:t>
            </a:r>
          </a:p>
          <a:p>
            <a:endParaRPr lang="en-NZ" sz="2400" dirty="0">
              <a:solidFill>
                <a:schemeClr val="bg1"/>
              </a:solidFill>
            </a:endParaRPr>
          </a:p>
          <a:p>
            <a:endParaRPr lang="en-NZ" sz="2400" dirty="0">
              <a:solidFill>
                <a:schemeClr val="bg1"/>
              </a:solidFill>
            </a:endParaRPr>
          </a:p>
        </p:txBody>
      </p:sp>
    </p:spTree>
    <p:custDataLst>
      <p:tags r:id="rId1"/>
    </p:custDataLst>
    <p:extLst>
      <p:ext uri="{BB962C8B-B14F-4D97-AF65-F5344CB8AC3E}">
        <p14:creationId xmlns:p14="http://schemas.microsoft.com/office/powerpoint/2010/main" val="180808857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099593" y="2483333"/>
            <a:ext cx="5992814" cy="2746365"/>
            <a:chOff x="2951792" y="1653540"/>
            <a:chExt cx="6125834" cy="2807325"/>
          </a:xfrm>
        </p:grpSpPr>
        <p:sp>
          <p:nvSpPr>
            <p:cNvPr id="85" name="Freeform 6"/>
            <p:cNvSpPr>
              <a:spLocks noEditPoints="1"/>
            </p:cNvSpPr>
            <p:nvPr/>
          </p:nvSpPr>
          <p:spPr bwMode="auto">
            <a:xfrm>
              <a:off x="4607608" y="2939036"/>
              <a:ext cx="651539" cy="1521829"/>
            </a:xfrm>
            <a:custGeom>
              <a:avLst/>
              <a:gdLst>
                <a:gd name="T0" fmla="*/ 0 w 761"/>
                <a:gd name="T1" fmla="*/ 191 h 2389"/>
                <a:gd name="T2" fmla="*/ 507 w 761"/>
                <a:gd name="T3" fmla="*/ 191 h 2389"/>
                <a:gd name="T4" fmla="*/ 666 w 761"/>
                <a:gd name="T5" fmla="*/ 561 h 2389"/>
                <a:gd name="T6" fmla="*/ 666 w 761"/>
                <a:gd name="T7" fmla="*/ 761 h 2389"/>
                <a:gd name="T8" fmla="*/ 571 w 761"/>
                <a:gd name="T9" fmla="*/ 920 h 2389"/>
                <a:gd name="T10" fmla="*/ 571 w 761"/>
                <a:gd name="T11" fmla="*/ 920 h 2389"/>
                <a:gd name="T12" fmla="*/ 571 w 761"/>
                <a:gd name="T13" fmla="*/ 1174 h 2389"/>
                <a:gd name="T14" fmla="*/ 666 w 761"/>
                <a:gd name="T15" fmla="*/ 1332 h 2389"/>
                <a:gd name="T16" fmla="*/ 666 w 761"/>
                <a:gd name="T17" fmla="*/ 1374 h 2389"/>
                <a:gd name="T18" fmla="*/ 571 w 761"/>
                <a:gd name="T19" fmla="*/ 1533 h 2389"/>
                <a:gd name="T20" fmla="*/ 571 w 761"/>
                <a:gd name="T21" fmla="*/ 1533 h 2389"/>
                <a:gd name="T22" fmla="*/ 571 w 761"/>
                <a:gd name="T23" fmla="*/ 1797 h 2389"/>
                <a:gd name="T24" fmla="*/ 666 w 761"/>
                <a:gd name="T25" fmla="*/ 2104 h 2389"/>
                <a:gd name="T26" fmla="*/ 74 w 761"/>
                <a:gd name="T27" fmla="*/ 2104 h 2389"/>
                <a:gd name="T28" fmla="*/ 190 w 761"/>
                <a:gd name="T29" fmla="*/ 1956 h 2389"/>
                <a:gd name="T30" fmla="*/ 190 w 761"/>
                <a:gd name="T31" fmla="*/ 1956 h 2389"/>
                <a:gd name="T32" fmla="*/ 190 w 761"/>
                <a:gd name="T33" fmla="*/ 1533 h 2389"/>
                <a:gd name="T34" fmla="*/ 74 w 761"/>
                <a:gd name="T35" fmla="*/ 1374 h 2389"/>
                <a:gd name="T36" fmla="*/ 74 w 761"/>
                <a:gd name="T37" fmla="*/ 1332 h 2389"/>
                <a:gd name="T38" fmla="*/ 190 w 761"/>
                <a:gd name="T39" fmla="*/ 1174 h 2389"/>
                <a:gd name="T40" fmla="*/ 190 w 761"/>
                <a:gd name="T41" fmla="*/ 1174 h 2389"/>
                <a:gd name="T42" fmla="*/ 190 w 761"/>
                <a:gd name="T43" fmla="*/ 761 h 2389"/>
                <a:gd name="T44" fmla="*/ 74 w 761"/>
                <a:gd name="T45" fmla="*/ 603 h 2389"/>
                <a:gd name="T46" fmla="*/ 74 w 761"/>
                <a:gd name="T47" fmla="*/ 561 h 2389"/>
                <a:gd name="T48" fmla="*/ 338 w 761"/>
                <a:gd name="T49" fmla="*/ 1956 h 2389"/>
                <a:gd name="T50" fmla="*/ 338 w 761"/>
                <a:gd name="T51" fmla="*/ 1956 h 2389"/>
                <a:gd name="T52" fmla="*/ 338 w 761"/>
                <a:gd name="T53" fmla="*/ 1691 h 2389"/>
                <a:gd name="T54" fmla="*/ 254 w 761"/>
                <a:gd name="T55" fmla="*/ 1533 h 2389"/>
                <a:gd name="T56" fmla="*/ 254 w 761"/>
                <a:gd name="T57" fmla="*/ 1491 h 2389"/>
                <a:gd name="T58" fmla="*/ 338 w 761"/>
                <a:gd name="T59" fmla="*/ 1332 h 2389"/>
                <a:gd name="T60" fmla="*/ 338 w 761"/>
                <a:gd name="T61" fmla="*/ 1332 h 2389"/>
                <a:gd name="T62" fmla="*/ 338 w 761"/>
                <a:gd name="T63" fmla="*/ 1068 h 2389"/>
                <a:gd name="T64" fmla="*/ 254 w 761"/>
                <a:gd name="T65" fmla="*/ 920 h 2389"/>
                <a:gd name="T66" fmla="*/ 254 w 761"/>
                <a:gd name="T67" fmla="*/ 867 h 2389"/>
                <a:gd name="T68" fmla="*/ 338 w 761"/>
                <a:gd name="T69" fmla="*/ 561 h 2389"/>
                <a:gd name="T70" fmla="*/ 338 w 761"/>
                <a:gd name="T71" fmla="*/ 561 h 2389"/>
                <a:gd name="T72" fmla="*/ 507 w 761"/>
                <a:gd name="T73" fmla="*/ 1998 h 2389"/>
                <a:gd name="T74" fmla="*/ 423 w 761"/>
                <a:gd name="T75" fmla="*/ 1839 h 2389"/>
                <a:gd name="T76" fmla="*/ 423 w 761"/>
                <a:gd name="T77" fmla="*/ 1797 h 2389"/>
                <a:gd name="T78" fmla="*/ 507 w 761"/>
                <a:gd name="T79" fmla="*/ 1639 h 2389"/>
                <a:gd name="T80" fmla="*/ 507 w 761"/>
                <a:gd name="T81" fmla="*/ 1639 h 2389"/>
                <a:gd name="T82" fmla="*/ 507 w 761"/>
                <a:gd name="T83" fmla="*/ 1226 h 2389"/>
                <a:gd name="T84" fmla="*/ 423 w 761"/>
                <a:gd name="T85" fmla="*/ 1068 h 2389"/>
                <a:gd name="T86" fmla="*/ 423 w 761"/>
                <a:gd name="T87" fmla="*/ 1026 h 2389"/>
                <a:gd name="T88" fmla="*/ 507 w 761"/>
                <a:gd name="T89" fmla="*/ 867 h 2389"/>
                <a:gd name="T90" fmla="*/ 507 w 761"/>
                <a:gd name="T91" fmla="*/ 867 h 2389"/>
                <a:gd name="T92" fmla="*/ 507 w 761"/>
                <a:gd name="T93" fmla="*/ 603 h 2389"/>
                <a:gd name="T94" fmla="*/ 423 w 761"/>
                <a:gd name="T95" fmla="*/ 455 h 2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61" h="2389">
                  <a:moveTo>
                    <a:pt x="507" y="0"/>
                  </a:moveTo>
                  <a:lnTo>
                    <a:pt x="74" y="0"/>
                  </a:lnTo>
                  <a:lnTo>
                    <a:pt x="74" y="191"/>
                  </a:lnTo>
                  <a:lnTo>
                    <a:pt x="0" y="191"/>
                  </a:lnTo>
                  <a:lnTo>
                    <a:pt x="0" y="2389"/>
                  </a:lnTo>
                  <a:lnTo>
                    <a:pt x="761" y="2389"/>
                  </a:lnTo>
                  <a:lnTo>
                    <a:pt x="761" y="191"/>
                  </a:lnTo>
                  <a:lnTo>
                    <a:pt x="507" y="191"/>
                  </a:lnTo>
                  <a:lnTo>
                    <a:pt x="507" y="0"/>
                  </a:lnTo>
                  <a:close/>
                  <a:moveTo>
                    <a:pt x="571" y="455"/>
                  </a:moveTo>
                  <a:lnTo>
                    <a:pt x="666" y="455"/>
                  </a:lnTo>
                  <a:lnTo>
                    <a:pt x="666" y="561"/>
                  </a:lnTo>
                  <a:lnTo>
                    <a:pt x="571" y="561"/>
                  </a:lnTo>
                  <a:lnTo>
                    <a:pt x="571" y="455"/>
                  </a:lnTo>
                  <a:close/>
                  <a:moveTo>
                    <a:pt x="571" y="761"/>
                  </a:moveTo>
                  <a:lnTo>
                    <a:pt x="666" y="761"/>
                  </a:lnTo>
                  <a:lnTo>
                    <a:pt x="666" y="867"/>
                  </a:lnTo>
                  <a:lnTo>
                    <a:pt x="571" y="867"/>
                  </a:lnTo>
                  <a:lnTo>
                    <a:pt x="571" y="761"/>
                  </a:lnTo>
                  <a:close/>
                  <a:moveTo>
                    <a:pt x="571" y="920"/>
                  </a:moveTo>
                  <a:lnTo>
                    <a:pt x="666" y="920"/>
                  </a:lnTo>
                  <a:lnTo>
                    <a:pt x="666" y="1026"/>
                  </a:lnTo>
                  <a:lnTo>
                    <a:pt x="571" y="1026"/>
                  </a:lnTo>
                  <a:lnTo>
                    <a:pt x="571" y="920"/>
                  </a:lnTo>
                  <a:close/>
                  <a:moveTo>
                    <a:pt x="571" y="1068"/>
                  </a:moveTo>
                  <a:lnTo>
                    <a:pt x="666" y="1068"/>
                  </a:lnTo>
                  <a:lnTo>
                    <a:pt x="666" y="1174"/>
                  </a:lnTo>
                  <a:lnTo>
                    <a:pt x="571" y="1174"/>
                  </a:lnTo>
                  <a:lnTo>
                    <a:pt x="571" y="1068"/>
                  </a:lnTo>
                  <a:close/>
                  <a:moveTo>
                    <a:pt x="571" y="1226"/>
                  </a:moveTo>
                  <a:lnTo>
                    <a:pt x="666" y="1226"/>
                  </a:lnTo>
                  <a:lnTo>
                    <a:pt x="666" y="1332"/>
                  </a:lnTo>
                  <a:lnTo>
                    <a:pt x="571" y="1332"/>
                  </a:lnTo>
                  <a:lnTo>
                    <a:pt x="571" y="1226"/>
                  </a:lnTo>
                  <a:close/>
                  <a:moveTo>
                    <a:pt x="571" y="1374"/>
                  </a:moveTo>
                  <a:lnTo>
                    <a:pt x="666" y="1374"/>
                  </a:lnTo>
                  <a:lnTo>
                    <a:pt x="666" y="1491"/>
                  </a:lnTo>
                  <a:lnTo>
                    <a:pt x="571" y="1491"/>
                  </a:lnTo>
                  <a:lnTo>
                    <a:pt x="571" y="1374"/>
                  </a:lnTo>
                  <a:close/>
                  <a:moveTo>
                    <a:pt x="571" y="1533"/>
                  </a:moveTo>
                  <a:lnTo>
                    <a:pt x="666" y="1533"/>
                  </a:lnTo>
                  <a:lnTo>
                    <a:pt x="666" y="1639"/>
                  </a:lnTo>
                  <a:lnTo>
                    <a:pt x="571" y="1639"/>
                  </a:lnTo>
                  <a:lnTo>
                    <a:pt x="571" y="1533"/>
                  </a:lnTo>
                  <a:close/>
                  <a:moveTo>
                    <a:pt x="571" y="1691"/>
                  </a:moveTo>
                  <a:lnTo>
                    <a:pt x="666" y="1691"/>
                  </a:lnTo>
                  <a:lnTo>
                    <a:pt x="666" y="1797"/>
                  </a:lnTo>
                  <a:lnTo>
                    <a:pt x="571" y="1797"/>
                  </a:lnTo>
                  <a:lnTo>
                    <a:pt x="571" y="1691"/>
                  </a:lnTo>
                  <a:close/>
                  <a:moveTo>
                    <a:pt x="571" y="1998"/>
                  </a:moveTo>
                  <a:lnTo>
                    <a:pt x="666" y="1998"/>
                  </a:lnTo>
                  <a:lnTo>
                    <a:pt x="666" y="2104"/>
                  </a:lnTo>
                  <a:lnTo>
                    <a:pt x="571" y="2104"/>
                  </a:lnTo>
                  <a:lnTo>
                    <a:pt x="571" y="1998"/>
                  </a:lnTo>
                  <a:close/>
                  <a:moveTo>
                    <a:pt x="190" y="2104"/>
                  </a:moveTo>
                  <a:lnTo>
                    <a:pt x="74" y="2104"/>
                  </a:lnTo>
                  <a:lnTo>
                    <a:pt x="74" y="1998"/>
                  </a:lnTo>
                  <a:lnTo>
                    <a:pt x="190" y="1998"/>
                  </a:lnTo>
                  <a:lnTo>
                    <a:pt x="190" y="2104"/>
                  </a:lnTo>
                  <a:close/>
                  <a:moveTo>
                    <a:pt x="190" y="1956"/>
                  </a:moveTo>
                  <a:lnTo>
                    <a:pt x="74" y="1956"/>
                  </a:lnTo>
                  <a:lnTo>
                    <a:pt x="74" y="1839"/>
                  </a:lnTo>
                  <a:lnTo>
                    <a:pt x="190" y="1839"/>
                  </a:lnTo>
                  <a:lnTo>
                    <a:pt x="190" y="1956"/>
                  </a:lnTo>
                  <a:close/>
                  <a:moveTo>
                    <a:pt x="190" y="1639"/>
                  </a:moveTo>
                  <a:lnTo>
                    <a:pt x="74" y="1639"/>
                  </a:lnTo>
                  <a:lnTo>
                    <a:pt x="74" y="1533"/>
                  </a:lnTo>
                  <a:lnTo>
                    <a:pt x="190" y="1533"/>
                  </a:lnTo>
                  <a:lnTo>
                    <a:pt x="190" y="1639"/>
                  </a:lnTo>
                  <a:close/>
                  <a:moveTo>
                    <a:pt x="190" y="1491"/>
                  </a:moveTo>
                  <a:lnTo>
                    <a:pt x="74" y="1491"/>
                  </a:lnTo>
                  <a:lnTo>
                    <a:pt x="74" y="1374"/>
                  </a:lnTo>
                  <a:lnTo>
                    <a:pt x="190" y="1374"/>
                  </a:lnTo>
                  <a:lnTo>
                    <a:pt x="190" y="1491"/>
                  </a:lnTo>
                  <a:close/>
                  <a:moveTo>
                    <a:pt x="190" y="1332"/>
                  </a:moveTo>
                  <a:lnTo>
                    <a:pt x="74" y="1332"/>
                  </a:lnTo>
                  <a:lnTo>
                    <a:pt x="74" y="1226"/>
                  </a:lnTo>
                  <a:lnTo>
                    <a:pt x="190" y="1226"/>
                  </a:lnTo>
                  <a:lnTo>
                    <a:pt x="190" y="1332"/>
                  </a:lnTo>
                  <a:close/>
                  <a:moveTo>
                    <a:pt x="190" y="1174"/>
                  </a:moveTo>
                  <a:lnTo>
                    <a:pt x="74" y="1174"/>
                  </a:lnTo>
                  <a:lnTo>
                    <a:pt x="74" y="1068"/>
                  </a:lnTo>
                  <a:lnTo>
                    <a:pt x="190" y="1068"/>
                  </a:lnTo>
                  <a:lnTo>
                    <a:pt x="190" y="1174"/>
                  </a:lnTo>
                  <a:close/>
                  <a:moveTo>
                    <a:pt x="190" y="867"/>
                  </a:moveTo>
                  <a:lnTo>
                    <a:pt x="74" y="867"/>
                  </a:lnTo>
                  <a:lnTo>
                    <a:pt x="74" y="761"/>
                  </a:lnTo>
                  <a:lnTo>
                    <a:pt x="190" y="761"/>
                  </a:lnTo>
                  <a:lnTo>
                    <a:pt x="190" y="867"/>
                  </a:lnTo>
                  <a:close/>
                  <a:moveTo>
                    <a:pt x="190" y="719"/>
                  </a:moveTo>
                  <a:lnTo>
                    <a:pt x="74" y="719"/>
                  </a:lnTo>
                  <a:lnTo>
                    <a:pt x="74" y="603"/>
                  </a:lnTo>
                  <a:lnTo>
                    <a:pt x="190" y="603"/>
                  </a:lnTo>
                  <a:lnTo>
                    <a:pt x="190" y="719"/>
                  </a:lnTo>
                  <a:close/>
                  <a:moveTo>
                    <a:pt x="190" y="561"/>
                  </a:moveTo>
                  <a:lnTo>
                    <a:pt x="74" y="561"/>
                  </a:lnTo>
                  <a:lnTo>
                    <a:pt x="74" y="455"/>
                  </a:lnTo>
                  <a:lnTo>
                    <a:pt x="190" y="455"/>
                  </a:lnTo>
                  <a:lnTo>
                    <a:pt x="190" y="561"/>
                  </a:lnTo>
                  <a:close/>
                  <a:moveTo>
                    <a:pt x="338" y="1956"/>
                  </a:moveTo>
                  <a:lnTo>
                    <a:pt x="254" y="1956"/>
                  </a:lnTo>
                  <a:lnTo>
                    <a:pt x="254" y="1839"/>
                  </a:lnTo>
                  <a:lnTo>
                    <a:pt x="338" y="1839"/>
                  </a:lnTo>
                  <a:lnTo>
                    <a:pt x="338" y="1956"/>
                  </a:lnTo>
                  <a:close/>
                  <a:moveTo>
                    <a:pt x="338" y="1797"/>
                  </a:moveTo>
                  <a:lnTo>
                    <a:pt x="254" y="1797"/>
                  </a:lnTo>
                  <a:lnTo>
                    <a:pt x="254" y="1691"/>
                  </a:lnTo>
                  <a:lnTo>
                    <a:pt x="338" y="1691"/>
                  </a:lnTo>
                  <a:lnTo>
                    <a:pt x="338" y="1797"/>
                  </a:lnTo>
                  <a:close/>
                  <a:moveTo>
                    <a:pt x="338" y="1639"/>
                  </a:moveTo>
                  <a:lnTo>
                    <a:pt x="254" y="1639"/>
                  </a:lnTo>
                  <a:lnTo>
                    <a:pt x="254" y="1533"/>
                  </a:lnTo>
                  <a:lnTo>
                    <a:pt x="338" y="1533"/>
                  </a:lnTo>
                  <a:lnTo>
                    <a:pt x="338" y="1639"/>
                  </a:lnTo>
                  <a:close/>
                  <a:moveTo>
                    <a:pt x="338" y="1491"/>
                  </a:moveTo>
                  <a:lnTo>
                    <a:pt x="254" y="1491"/>
                  </a:lnTo>
                  <a:lnTo>
                    <a:pt x="254" y="1374"/>
                  </a:lnTo>
                  <a:lnTo>
                    <a:pt x="338" y="1374"/>
                  </a:lnTo>
                  <a:lnTo>
                    <a:pt x="338" y="1491"/>
                  </a:lnTo>
                  <a:close/>
                  <a:moveTo>
                    <a:pt x="338" y="1332"/>
                  </a:moveTo>
                  <a:lnTo>
                    <a:pt x="254" y="1332"/>
                  </a:lnTo>
                  <a:lnTo>
                    <a:pt x="254" y="1226"/>
                  </a:lnTo>
                  <a:lnTo>
                    <a:pt x="338" y="1226"/>
                  </a:lnTo>
                  <a:lnTo>
                    <a:pt x="338" y="1332"/>
                  </a:lnTo>
                  <a:close/>
                  <a:moveTo>
                    <a:pt x="338" y="1174"/>
                  </a:moveTo>
                  <a:lnTo>
                    <a:pt x="254" y="1174"/>
                  </a:lnTo>
                  <a:lnTo>
                    <a:pt x="254" y="1068"/>
                  </a:lnTo>
                  <a:lnTo>
                    <a:pt x="338" y="1068"/>
                  </a:lnTo>
                  <a:lnTo>
                    <a:pt x="338" y="1174"/>
                  </a:lnTo>
                  <a:close/>
                  <a:moveTo>
                    <a:pt x="338" y="1026"/>
                  </a:moveTo>
                  <a:lnTo>
                    <a:pt x="254" y="1026"/>
                  </a:lnTo>
                  <a:lnTo>
                    <a:pt x="254" y="920"/>
                  </a:lnTo>
                  <a:lnTo>
                    <a:pt x="338" y="920"/>
                  </a:lnTo>
                  <a:lnTo>
                    <a:pt x="338" y="1026"/>
                  </a:lnTo>
                  <a:close/>
                  <a:moveTo>
                    <a:pt x="338" y="867"/>
                  </a:moveTo>
                  <a:lnTo>
                    <a:pt x="254" y="867"/>
                  </a:lnTo>
                  <a:lnTo>
                    <a:pt x="254" y="761"/>
                  </a:lnTo>
                  <a:lnTo>
                    <a:pt x="338" y="761"/>
                  </a:lnTo>
                  <a:lnTo>
                    <a:pt x="338" y="867"/>
                  </a:lnTo>
                  <a:close/>
                  <a:moveTo>
                    <a:pt x="338" y="561"/>
                  </a:moveTo>
                  <a:lnTo>
                    <a:pt x="254" y="561"/>
                  </a:lnTo>
                  <a:lnTo>
                    <a:pt x="254" y="455"/>
                  </a:lnTo>
                  <a:lnTo>
                    <a:pt x="338" y="455"/>
                  </a:lnTo>
                  <a:lnTo>
                    <a:pt x="338" y="561"/>
                  </a:lnTo>
                  <a:close/>
                  <a:moveTo>
                    <a:pt x="507" y="2104"/>
                  </a:moveTo>
                  <a:lnTo>
                    <a:pt x="423" y="2104"/>
                  </a:lnTo>
                  <a:lnTo>
                    <a:pt x="423" y="1998"/>
                  </a:lnTo>
                  <a:lnTo>
                    <a:pt x="507" y="1998"/>
                  </a:lnTo>
                  <a:lnTo>
                    <a:pt x="507" y="2104"/>
                  </a:lnTo>
                  <a:close/>
                  <a:moveTo>
                    <a:pt x="507" y="1956"/>
                  </a:moveTo>
                  <a:lnTo>
                    <a:pt x="423" y="1956"/>
                  </a:lnTo>
                  <a:lnTo>
                    <a:pt x="423" y="1839"/>
                  </a:lnTo>
                  <a:lnTo>
                    <a:pt x="507" y="1839"/>
                  </a:lnTo>
                  <a:lnTo>
                    <a:pt x="507" y="1956"/>
                  </a:lnTo>
                  <a:close/>
                  <a:moveTo>
                    <a:pt x="507" y="1797"/>
                  </a:moveTo>
                  <a:lnTo>
                    <a:pt x="423" y="1797"/>
                  </a:lnTo>
                  <a:lnTo>
                    <a:pt x="423" y="1691"/>
                  </a:lnTo>
                  <a:lnTo>
                    <a:pt x="507" y="1691"/>
                  </a:lnTo>
                  <a:lnTo>
                    <a:pt x="507" y="1797"/>
                  </a:lnTo>
                  <a:close/>
                  <a:moveTo>
                    <a:pt x="507" y="1639"/>
                  </a:moveTo>
                  <a:lnTo>
                    <a:pt x="423" y="1639"/>
                  </a:lnTo>
                  <a:lnTo>
                    <a:pt x="423" y="1533"/>
                  </a:lnTo>
                  <a:lnTo>
                    <a:pt x="507" y="1533"/>
                  </a:lnTo>
                  <a:lnTo>
                    <a:pt x="507" y="1639"/>
                  </a:lnTo>
                  <a:close/>
                  <a:moveTo>
                    <a:pt x="507" y="1332"/>
                  </a:moveTo>
                  <a:lnTo>
                    <a:pt x="423" y="1332"/>
                  </a:lnTo>
                  <a:lnTo>
                    <a:pt x="423" y="1226"/>
                  </a:lnTo>
                  <a:lnTo>
                    <a:pt x="507" y="1226"/>
                  </a:lnTo>
                  <a:lnTo>
                    <a:pt x="507" y="1332"/>
                  </a:lnTo>
                  <a:close/>
                  <a:moveTo>
                    <a:pt x="507" y="1174"/>
                  </a:moveTo>
                  <a:lnTo>
                    <a:pt x="423" y="1174"/>
                  </a:lnTo>
                  <a:lnTo>
                    <a:pt x="423" y="1068"/>
                  </a:lnTo>
                  <a:lnTo>
                    <a:pt x="507" y="1068"/>
                  </a:lnTo>
                  <a:lnTo>
                    <a:pt x="507" y="1174"/>
                  </a:lnTo>
                  <a:close/>
                  <a:moveTo>
                    <a:pt x="507" y="1026"/>
                  </a:moveTo>
                  <a:lnTo>
                    <a:pt x="423" y="1026"/>
                  </a:lnTo>
                  <a:lnTo>
                    <a:pt x="423" y="920"/>
                  </a:lnTo>
                  <a:lnTo>
                    <a:pt x="507" y="920"/>
                  </a:lnTo>
                  <a:lnTo>
                    <a:pt x="507" y="1026"/>
                  </a:lnTo>
                  <a:close/>
                  <a:moveTo>
                    <a:pt x="507" y="867"/>
                  </a:moveTo>
                  <a:lnTo>
                    <a:pt x="423" y="867"/>
                  </a:lnTo>
                  <a:lnTo>
                    <a:pt x="423" y="761"/>
                  </a:lnTo>
                  <a:lnTo>
                    <a:pt x="507" y="761"/>
                  </a:lnTo>
                  <a:lnTo>
                    <a:pt x="507" y="867"/>
                  </a:lnTo>
                  <a:close/>
                  <a:moveTo>
                    <a:pt x="507" y="719"/>
                  </a:moveTo>
                  <a:lnTo>
                    <a:pt x="423" y="719"/>
                  </a:lnTo>
                  <a:lnTo>
                    <a:pt x="423" y="603"/>
                  </a:lnTo>
                  <a:lnTo>
                    <a:pt x="507" y="603"/>
                  </a:lnTo>
                  <a:lnTo>
                    <a:pt x="507" y="719"/>
                  </a:lnTo>
                  <a:close/>
                  <a:moveTo>
                    <a:pt x="507" y="561"/>
                  </a:moveTo>
                  <a:lnTo>
                    <a:pt x="423" y="561"/>
                  </a:lnTo>
                  <a:lnTo>
                    <a:pt x="423" y="455"/>
                  </a:lnTo>
                  <a:lnTo>
                    <a:pt x="507" y="455"/>
                  </a:lnTo>
                  <a:lnTo>
                    <a:pt x="507" y="561"/>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6" name="Freeform 7"/>
            <p:cNvSpPr>
              <a:spLocks noEditPoints="1"/>
            </p:cNvSpPr>
            <p:nvPr/>
          </p:nvSpPr>
          <p:spPr bwMode="auto">
            <a:xfrm>
              <a:off x="6688936" y="2898904"/>
              <a:ext cx="651539" cy="1561961"/>
            </a:xfrm>
            <a:custGeom>
              <a:avLst/>
              <a:gdLst>
                <a:gd name="T0" fmla="*/ 423 w 761"/>
                <a:gd name="T1" fmla="*/ 0 h 2452"/>
                <a:gd name="T2" fmla="*/ 127 w 761"/>
                <a:gd name="T3" fmla="*/ 317 h 2452"/>
                <a:gd name="T4" fmla="*/ 0 w 761"/>
                <a:gd name="T5" fmla="*/ 2452 h 2452"/>
                <a:gd name="T6" fmla="*/ 655 w 761"/>
                <a:gd name="T7" fmla="*/ 560 h 2452"/>
                <a:gd name="T8" fmla="*/ 63 w 761"/>
                <a:gd name="T9" fmla="*/ 2198 h 2452"/>
                <a:gd name="T10" fmla="*/ 137 w 761"/>
                <a:gd name="T11" fmla="*/ 2198 h 2452"/>
                <a:gd name="T12" fmla="*/ 63 w 761"/>
                <a:gd name="T13" fmla="*/ 1818 h 2452"/>
                <a:gd name="T14" fmla="*/ 137 w 761"/>
                <a:gd name="T15" fmla="*/ 1733 h 2452"/>
                <a:gd name="T16" fmla="*/ 137 w 761"/>
                <a:gd name="T17" fmla="*/ 1585 h 2452"/>
                <a:gd name="T18" fmla="*/ 63 w 761"/>
                <a:gd name="T19" fmla="*/ 1501 h 2452"/>
                <a:gd name="T20" fmla="*/ 137 w 761"/>
                <a:gd name="T21" fmla="*/ 1501 h 2452"/>
                <a:gd name="T22" fmla="*/ 63 w 761"/>
                <a:gd name="T23" fmla="*/ 1120 h 2452"/>
                <a:gd name="T24" fmla="*/ 137 w 761"/>
                <a:gd name="T25" fmla="*/ 1036 h 2452"/>
                <a:gd name="T26" fmla="*/ 137 w 761"/>
                <a:gd name="T27" fmla="*/ 888 h 2452"/>
                <a:gd name="T28" fmla="*/ 63 w 761"/>
                <a:gd name="T29" fmla="*/ 803 h 2452"/>
                <a:gd name="T30" fmla="*/ 137 w 761"/>
                <a:gd name="T31" fmla="*/ 803 h 2452"/>
                <a:gd name="T32" fmla="*/ 201 w 761"/>
                <a:gd name="T33" fmla="*/ 2050 h 2452"/>
                <a:gd name="T34" fmla="*/ 275 w 761"/>
                <a:gd name="T35" fmla="*/ 1966 h 2452"/>
                <a:gd name="T36" fmla="*/ 275 w 761"/>
                <a:gd name="T37" fmla="*/ 1818 h 2452"/>
                <a:gd name="T38" fmla="*/ 201 w 761"/>
                <a:gd name="T39" fmla="*/ 1501 h 2452"/>
                <a:gd name="T40" fmla="*/ 275 w 761"/>
                <a:gd name="T41" fmla="*/ 1501 h 2452"/>
                <a:gd name="T42" fmla="*/ 201 w 761"/>
                <a:gd name="T43" fmla="*/ 888 h 2452"/>
                <a:gd name="T44" fmla="*/ 275 w 761"/>
                <a:gd name="T45" fmla="*/ 803 h 2452"/>
                <a:gd name="T46" fmla="*/ 275 w 761"/>
                <a:gd name="T47" fmla="*/ 655 h 2452"/>
                <a:gd name="T48" fmla="*/ 201 w 761"/>
                <a:gd name="T49" fmla="*/ 550 h 2452"/>
                <a:gd name="T50" fmla="*/ 275 w 761"/>
                <a:gd name="T51" fmla="*/ 550 h 2452"/>
                <a:gd name="T52" fmla="*/ 338 w 761"/>
                <a:gd name="T53" fmla="*/ 2050 h 2452"/>
                <a:gd name="T54" fmla="*/ 423 w 761"/>
                <a:gd name="T55" fmla="*/ 1733 h 2452"/>
                <a:gd name="T56" fmla="*/ 423 w 761"/>
                <a:gd name="T57" fmla="*/ 1585 h 2452"/>
                <a:gd name="T58" fmla="*/ 338 w 761"/>
                <a:gd name="T59" fmla="*/ 1501 h 2452"/>
                <a:gd name="T60" fmla="*/ 423 w 761"/>
                <a:gd name="T61" fmla="*/ 1501 h 2452"/>
                <a:gd name="T62" fmla="*/ 338 w 761"/>
                <a:gd name="T63" fmla="*/ 1120 h 2452"/>
                <a:gd name="T64" fmla="*/ 423 w 761"/>
                <a:gd name="T65" fmla="*/ 1036 h 2452"/>
                <a:gd name="T66" fmla="*/ 423 w 761"/>
                <a:gd name="T67" fmla="*/ 888 h 2452"/>
                <a:gd name="T68" fmla="*/ 338 w 761"/>
                <a:gd name="T69" fmla="*/ 803 h 2452"/>
                <a:gd name="T70" fmla="*/ 423 w 761"/>
                <a:gd name="T71" fmla="*/ 803 h 2452"/>
                <a:gd name="T72" fmla="*/ 338 w 761"/>
                <a:gd name="T73" fmla="*/ 550 h 2452"/>
                <a:gd name="T74" fmla="*/ 423 w 761"/>
                <a:gd name="T75" fmla="*/ 391 h 2452"/>
                <a:gd name="T76" fmla="*/ 476 w 761"/>
                <a:gd name="T77" fmla="*/ 2198 h 2452"/>
                <a:gd name="T78" fmla="*/ 560 w 761"/>
                <a:gd name="T79" fmla="*/ 2198 h 2452"/>
                <a:gd name="T80" fmla="*/ 476 w 761"/>
                <a:gd name="T81" fmla="*/ 1818 h 2452"/>
                <a:gd name="T82" fmla="*/ 560 w 761"/>
                <a:gd name="T83" fmla="*/ 1733 h 2452"/>
                <a:gd name="T84" fmla="*/ 560 w 761"/>
                <a:gd name="T85" fmla="*/ 1585 h 2452"/>
                <a:gd name="T86" fmla="*/ 476 w 761"/>
                <a:gd name="T87" fmla="*/ 1501 h 2452"/>
                <a:gd name="T88" fmla="*/ 560 w 761"/>
                <a:gd name="T89" fmla="*/ 1501 h 2452"/>
                <a:gd name="T90" fmla="*/ 476 w 761"/>
                <a:gd name="T91" fmla="*/ 1120 h 2452"/>
                <a:gd name="T92" fmla="*/ 560 w 761"/>
                <a:gd name="T93" fmla="*/ 803 h 2452"/>
                <a:gd name="T94" fmla="*/ 560 w 761"/>
                <a:gd name="T95" fmla="*/ 655 h 2452"/>
                <a:gd name="T96" fmla="*/ 476 w 761"/>
                <a:gd name="T97" fmla="*/ 550 h 2452"/>
                <a:gd name="T98" fmla="*/ 560 w 761"/>
                <a:gd name="T99" fmla="*/ 550 h 2452"/>
                <a:gd name="T100" fmla="*/ 624 w 761"/>
                <a:gd name="T101" fmla="*/ 2050 h 2452"/>
                <a:gd name="T102" fmla="*/ 698 w 761"/>
                <a:gd name="T103" fmla="*/ 1966 h 2452"/>
                <a:gd name="T104" fmla="*/ 698 w 761"/>
                <a:gd name="T105" fmla="*/ 1818 h 2452"/>
                <a:gd name="T106" fmla="*/ 624 w 761"/>
                <a:gd name="T107" fmla="*/ 1733 h 2452"/>
                <a:gd name="T108" fmla="*/ 698 w 761"/>
                <a:gd name="T109" fmla="*/ 1733 h 2452"/>
                <a:gd name="T110" fmla="*/ 624 w 761"/>
                <a:gd name="T111" fmla="*/ 1353 h 2452"/>
                <a:gd name="T112" fmla="*/ 698 w 761"/>
                <a:gd name="T113" fmla="*/ 1268 h 2452"/>
                <a:gd name="T114" fmla="*/ 698 w 761"/>
                <a:gd name="T115" fmla="*/ 1120 h 2452"/>
                <a:gd name="T116" fmla="*/ 624 w 761"/>
                <a:gd name="T117" fmla="*/ 1036 h 2452"/>
                <a:gd name="T118" fmla="*/ 698 w 761"/>
                <a:gd name="T119" fmla="*/ 1036 h 2452"/>
                <a:gd name="T120" fmla="*/ 624 w 761"/>
                <a:gd name="T121" fmla="*/ 803 h 2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1" h="2452">
                  <a:moveTo>
                    <a:pt x="655" y="317"/>
                  </a:moveTo>
                  <a:lnTo>
                    <a:pt x="423" y="317"/>
                  </a:lnTo>
                  <a:lnTo>
                    <a:pt x="423" y="0"/>
                  </a:lnTo>
                  <a:lnTo>
                    <a:pt x="338" y="0"/>
                  </a:lnTo>
                  <a:lnTo>
                    <a:pt x="338" y="317"/>
                  </a:lnTo>
                  <a:lnTo>
                    <a:pt x="127" y="317"/>
                  </a:lnTo>
                  <a:lnTo>
                    <a:pt x="127" y="560"/>
                  </a:lnTo>
                  <a:lnTo>
                    <a:pt x="0" y="560"/>
                  </a:lnTo>
                  <a:lnTo>
                    <a:pt x="0" y="2452"/>
                  </a:lnTo>
                  <a:lnTo>
                    <a:pt x="761" y="2452"/>
                  </a:lnTo>
                  <a:lnTo>
                    <a:pt x="761" y="560"/>
                  </a:lnTo>
                  <a:lnTo>
                    <a:pt x="655" y="560"/>
                  </a:lnTo>
                  <a:lnTo>
                    <a:pt x="655" y="317"/>
                  </a:lnTo>
                  <a:close/>
                  <a:moveTo>
                    <a:pt x="137" y="2198"/>
                  </a:moveTo>
                  <a:lnTo>
                    <a:pt x="63" y="2198"/>
                  </a:lnTo>
                  <a:lnTo>
                    <a:pt x="63" y="2050"/>
                  </a:lnTo>
                  <a:lnTo>
                    <a:pt x="137" y="2050"/>
                  </a:lnTo>
                  <a:lnTo>
                    <a:pt x="137" y="2198"/>
                  </a:lnTo>
                  <a:close/>
                  <a:moveTo>
                    <a:pt x="137" y="1966"/>
                  </a:moveTo>
                  <a:lnTo>
                    <a:pt x="63" y="1966"/>
                  </a:lnTo>
                  <a:lnTo>
                    <a:pt x="63" y="1818"/>
                  </a:lnTo>
                  <a:lnTo>
                    <a:pt x="137" y="1818"/>
                  </a:lnTo>
                  <a:lnTo>
                    <a:pt x="137" y="1966"/>
                  </a:lnTo>
                  <a:close/>
                  <a:moveTo>
                    <a:pt x="137" y="1733"/>
                  </a:moveTo>
                  <a:lnTo>
                    <a:pt x="63" y="1733"/>
                  </a:lnTo>
                  <a:lnTo>
                    <a:pt x="63" y="1585"/>
                  </a:lnTo>
                  <a:lnTo>
                    <a:pt x="137" y="1585"/>
                  </a:lnTo>
                  <a:lnTo>
                    <a:pt x="137" y="1733"/>
                  </a:lnTo>
                  <a:close/>
                  <a:moveTo>
                    <a:pt x="137" y="1501"/>
                  </a:moveTo>
                  <a:lnTo>
                    <a:pt x="63" y="1501"/>
                  </a:lnTo>
                  <a:lnTo>
                    <a:pt x="63" y="1353"/>
                  </a:lnTo>
                  <a:lnTo>
                    <a:pt x="137" y="1353"/>
                  </a:lnTo>
                  <a:lnTo>
                    <a:pt x="137" y="1501"/>
                  </a:lnTo>
                  <a:close/>
                  <a:moveTo>
                    <a:pt x="137" y="1268"/>
                  </a:moveTo>
                  <a:lnTo>
                    <a:pt x="63" y="1268"/>
                  </a:lnTo>
                  <a:lnTo>
                    <a:pt x="63" y="1120"/>
                  </a:lnTo>
                  <a:lnTo>
                    <a:pt x="137" y="1120"/>
                  </a:lnTo>
                  <a:lnTo>
                    <a:pt x="137" y="1268"/>
                  </a:lnTo>
                  <a:close/>
                  <a:moveTo>
                    <a:pt x="137" y="1036"/>
                  </a:moveTo>
                  <a:lnTo>
                    <a:pt x="63" y="1036"/>
                  </a:lnTo>
                  <a:lnTo>
                    <a:pt x="63" y="888"/>
                  </a:lnTo>
                  <a:lnTo>
                    <a:pt x="137" y="888"/>
                  </a:lnTo>
                  <a:lnTo>
                    <a:pt x="137" y="1036"/>
                  </a:lnTo>
                  <a:close/>
                  <a:moveTo>
                    <a:pt x="137" y="803"/>
                  </a:moveTo>
                  <a:lnTo>
                    <a:pt x="63" y="803"/>
                  </a:lnTo>
                  <a:lnTo>
                    <a:pt x="63" y="655"/>
                  </a:lnTo>
                  <a:lnTo>
                    <a:pt x="137" y="655"/>
                  </a:lnTo>
                  <a:lnTo>
                    <a:pt x="137" y="803"/>
                  </a:lnTo>
                  <a:close/>
                  <a:moveTo>
                    <a:pt x="275" y="2198"/>
                  </a:moveTo>
                  <a:lnTo>
                    <a:pt x="201" y="2198"/>
                  </a:lnTo>
                  <a:lnTo>
                    <a:pt x="201" y="2050"/>
                  </a:lnTo>
                  <a:lnTo>
                    <a:pt x="275" y="2050"/>
                  </a:lnTo>
                  <a:lnTo>
                    <a:pt x="275" y="2198"/>
                  </a:lnTo>
                  <a:close/>
                  <a:moveTo>
                    <a:pt x="275" y="1966"/>
                  </a:moveTo>
                  <a:lnTo>
                    <a:pt x="201" y="1966"/>
                  </a:lnTo>
                  <a:lnTo>
                    <a:pt x="201" y="1818"/>
                  </a:lnTo>
                  <a:lnTo>
                    <a:pt x="275" y="1818"/>
                  </a:lnTo>
                  <a:lnTo>
                    <a:pt x="275" y="1966"/>
                  </a:lnTo>
                  <a:close/>
                  <a:moveTo>
                    <a:pt x="275" y="1501"/>
                  </a:moveTo>
                  <a:lnTo>
                    <a:pt x="201" y="1501"/>
                  </a:lnTo>
                  <a:lnTo>
                    <a:pt x="201" y="1353"/>
                  </a:lnTo>
                  <a:lnTo>
                    <a:pt x="275" y="1353"/>
                  </a:lnTo>
                  <a:lnTo>
                    <a:pt x="275" y="1501"/>
                  </a:lnTo>
                  <a:close/>
                  <a:moveTo>
                    <a:pt x="275" y="1036"/>
                  </a:moveTo>
                  <a:lnTo>
                    <a:pt x="201" y="1036"/>
                  </a:lnTo>
                  <a:lnTo>
                    <a:pt x="201" y="888"/>
                  </a:lnTo>
                  <a:lnTo>
                    <a:pt x="275" y="888"/>
                  </a:lnTo>
                  <a:lnTo>
                    <a:pt x="275" y="1036"/>
                  </a:lnTo>
                  <a:close/>
                  <a:moveTo>
                    <a:pt x="275" y="803"/>
                  </a:moveTo>
                  <a:lnTo>
                    <a:pt x="201" y="803"/>
                  </a:lnTo>
                  <a:lnTo>
                    <a:pt x="201" y="655"/>
                  </a:lnTo>
                  <a:lnTo>
                    <a:pt x="275" y="655"/>
                  </a:lnTo>
                  <a:lnTo>
                    <a:pt x="275" y="803"/>
                  </a:lnTo>
                  <a:close/>
                  <a:moveTo>
                    <a:pt x="275" y="550"/>
                  </a:moveTo>
                  <a:lnTo>
                    <a:pt x="201" y="550"/>
                  </a:lnTo>
                  <a:lnTo>
                    <a:pt x="201" y="391"/>
                  </a:lnTo>
                  <a:lnTo>
                    <a:pt x="275" y="391"/>
                  </a:lnTo>
                  <a:lnTo>
                    <a:pt x="275" y="550"/>
                  </a:lnTo>
                  <a:close/>
                  <a:moveTo>
                    <a:pt x="423" y="2198"/>
                  </a:moveTo>
                  <a:lnTo>
                    <a:pt x="338" y="2198"/>
                  </a:lnTo>
                  <a:lnTo>
                    <a:pt x="338" y="2050"/>
                  </a:lnTo>
                  <a:lnTo>
                    <a:pt x="423" y="2050"/>
                  </a:lnTo>
                  <a:lnTo>
                    <a:pt x="423" y="2198"/>
                  </a:lnTo>
                  <a:close/>
                  <a:moveTo>
                    <a:pt x="423" y="1733"/>
                  </a:moveTo>
                  <a:lnTo>
                    <a:pt x="338" y="1733"/>
                  </a:lnTo>
                  <a:lnTo>
                    <a:pt x="338" y="1585"/>
                  </a:lnTo>
                  <a:lnTo>
                    <a:pt x="423" y="1585"/>
                  </a:lnTo>
                  <a:lnTo>
                    <a:pt x="423" y="1733"/>
                  </a:lnTo>
                  <a:close/>
                  <a:moveTo>
                    <a:pt x="423" y="1501"/>
                  </a:moveTo>
                  <a:lnTo>
                    <a:pt x="338" y="1501"/>
                  </a:lnTo>
                  <a:lnTo>
                    <a:pt x="338" y="1353"/>
                  </a:lnTo>
                  <a:lnTo>
                    <a:pt x="423" y="1353"/>
                  </a:lnTo>
                  <a:lnTo>
                    <a:pt x="423" y="1501"/>
                  </a:lnTo>
                  <a:close/>
                  <a:moveTo>
                    <a:pt x="423" y="1268"/>
                  </a:moveTo>
                  <a:lnTo>
                    <a:pt x="338" y="1268"/>
                  </a:lnTo>
                  <a:lnTo>
                    <a:pt x="338" y="1120"/>
                  </a:lnTo>
                  <a:lnTo>
                    <a:pt x="423" y="1120"/>
                  </a:lnTo>
                  <a:lnTo>
                    <a:pt x="423" y="1268"/>
                  </a:lnTo>
                  <a:close/>
                  <a:moveTo>
                    <a:pt x="423" y="1036"/>
                  </a:moveTo>
                  <a:lnTo>
                    <a:pt x="338" y="1036"/>
                  </a:lnTo>
                  <a:lnTo>
                    <a:pt x="338" y="888"/>
                  </a:lnTo>
                  <a:lnTo>
                    <a:pt x="423" y="888"/>
                  </a:lnTo>
                  <a:lnTo>
                    <a:pt x="423" y="1036"/>
                  </a:lnTo>
                  <a:close/>
                  <a:moveTo>
                    <a:pt x="423" y="803"/>
                  </a:moveTo>
                  <a:lnTo>
                    <a:pt x="338" y="803"/>
                  </a:lnTo>
                  <a:lnTo>
                    <a:pt x="338" y="655"/>
                  </a:lnTo>
                  <a:lnTo>
                    <a:pt x="423" y="655"/>
                  </a:lnTo>
                  <a:lnTo>
                    <a:pt x="423" y="803"/>
                  </a:lnTo>
                  <a:close/>
                  <a:moveTo>
                    <a:pt x="423" y="518"/>
                  </a:moveTo>
                  <a:lnTo>
                    <a:pt x="423" y="550"/>
                  </a:lnTo>
                  <a:lnTo>
                    <a:pt x="338" y="550"/>
                  </a:lnTo>
                  <a:lnTo>
                    <a:pt x="338" y="518"/>
                  </a:lnTo>
                  <a:lnTo>
                    <a:pt x="338" y="391"/>
                  </a:lnTo>
                  <a:lnTo>
                    <a:pt x="423" y="391"/>
                  </a:lnTo>
                  <a:lnTo>
                    <a:pt x="423" y="518"/>
                  </a:lnTo>
                  <a:close/>
                  <a:moveTo>
                    <a:pt x="560" y="2198"/>
                  </a:moveTo>
                  <a:lnTo>
                    <a:pt x="476" y="2198"/>
                  </a:lnTo>
                  <a:lnTo>
                    <a:pt x="476" y="2050"/>
                  </a:lnTo>
                  <a:lnTo>
                    <a:pt x="560" y="2050"/>
                  </a:lnTo>
                  <a:lnTo>
                    <a:pt x="560" y="2198"/>
                  </a:lnTo>
                  <a:close/>
                  <a:moveTo>
                    <a:pt x="560" y="1966"/>
                  </a:moveTo>
                  <a:lnTo>
                    <a:pt x="476" y="1966"/>
                  </a:lnTo>
                  <a:lnTo>
                    <a:pt x="476" y="1818"/>
                  </a:lnTo>
                  <a:lnTo>
                    <a:pt x="560" y="1818"/>
                  </a:lnTo>
                  <a:lnTo>
                    <a:pt x="560" y="1966"/>
                  </a:lnTo>
                  <a:close/>
                  <a:moveTo>
                    <a:pt x="560" y="1733"/>
                  </a:moveTo>
                  <a:lnTo>
                    <a:pt x="476" y="1733"/>
                  </a:lnTo>
                  <a:lnTo>
                    <a:pt x="476" y="1585"/>
                  </a:lnTo>
                  <a:lnTo>
                    <a:pt x="560" y="1585"/>
                  </a:lnTo>
                  <a:lnTo>
                    <a:pt x="560" y="1733"/>
                  </a:lnTo>
                  <a:close/>
                  <a:moveTo>
                    <a:pt x="560" y="1501"/>
                  </a:moveTo>
                  <a:lnTo>
                    <a:pt x="476" y="1501"/>
                  </a:lnTo>
                  <a:lnTo>
                    <a:pt x="476" y="1353"/>
                  </a:lnTo>
                  <a:lnTo>
                    <a:pt x="560" y="1353"/>
                  </a:lnTo>
                  <a:lnTo>
                    <a:pt x="560" y="1501"/>
                  </a:lnTo>
                  <a:close/>
                  <a:moveTo>
                    <a:pt x="560" y="1268"/>
                  </a:moveTo>
                  <a:lnTo>
                    <a:pt x="476" y="1268"/>
                  </a:lnTo>
                  <a:lnTo>
                    <a:pt x="476" y="1120"/>
                  </a:lnTo>
                  <a:lnTo>
                    <a:pt x="560" y="1120"/>
                  </a:lnTo>
                  <a:lnTo>
                    <a:pt x="560" y="1268"/>
                  </a:lnTo>
                  <a:close/>
                  <a:moveTo>
                    <a:pt x="560" y="803"/>
                  </a:moveTo>
                  <a:lnTo>
                    <a:pt x="476" y="803"/>
                  </a:lnTo>
                  <a:lnTo>
                    <a:pt x="476" y="655"/>
                  </a:lnTo>
                  <a:lnTo>
                    <a:pt x="560" y="655"/>
                  </a:lnTo>
                  <a:lnTo>
                    <a:pt x="560" y="803"/>
                  </a:lnTo>
                  <a:close/>
                  <a:moveTo>
                    <a:pt x="560" y="550"/>
                  </a:moveTo>
                  <a:lnTo>
                    <a:pt x="476" y="550"/>
                  </a:lnTo>
                  <a:lnTo>
                    <a:pt x="476" y="391"/>
                  </a:lnTo>
                  <a:lnTo>
                    <a:pt x="560" y="391"/>
                  </a:lnTo>
                  <a:lnTo>
                    <a:pt x="560" y="550"/>
                  </a:lnTo>
                  <a:close/>
                  <a:moveTo>
                    <a:pt x="698" y="2198"/>
                  </a:moveTo>
                  <a:lnTo>
                    <a:pt x="624" y="2198"/>
                  </a:lnTo>
                  <a:lnTo>
                    <a:pt x="624" y="2050"/>
                  </a:lnTo>
                  <a:lnTo>
                    <a:pt x="698" y="2050"/>
                  </a:lnTo>
                  <a:lnTo>
                    <a:pt x="698" y="2198"/>
                  </a:lnTo>
                  <a:close/>
                  <a:moveTo>
                    <a:pt x="698" y="1966"/>
                  </a:moveTo>
                  <a:lnTo>
                    <a:pt x="624" y="1966"/>
                  </a:lnTo>
                  <a:lnTo>
                    <a:pt x="624" y="1818"/>
                  </a:lnTo>
                  <a:lnTo>
                    <a:pt x="698" y="1818"/>
                  </a:lnTo>
                  <a:lnTo>
                    <a:pt x="698" y="1966"/>
                  </a:lnTo>
                  <a:close/>
                  <a:moveTo>
                    <a:pt x="698" y="1733"/>
                  </a:moveTo>
                  <a:lnTo>
                    <a:pt x="624" y="1733"/>
                  </a:lnTo>
                  <a:lnTo>
                    <a:pt x="624" y="1585"/>
                  </a:lnTo>
                  <a:lnTo>
                    <a:pt x="698" y="1585"/>
                  </a:lnTo>
                  <a:lnTo>
                    <a:pt x="698" y="1733"/>
                  </a:lnTo>
                  <a:close/>
                  <a:moveTo>
                    <a:pt x="698" y="1501"/>
                  </a:moveTo>
                  <a:lnTo>
                    <a:pt x="624" y="1501"/>
                  </a:lnTo>
                  <a:lnTo>
                    <a:pt x="624" y="1353"/>
                  </a:lnTo>
                  <a:lnTo>
                    <a:pt x="698" y="1353"/>
                  </a:lnTo>
                  <a:lnTo>
                    <a:pt x="698" y="1501"/>
                  </a:lnTo>
                  <a:close/>
                  <a:moveTo>
                    <a:pt x="698" y="1268"/>
                  </a:moveTo>
                  <a:lnTo>
                    <a:pt x="624" y="1268"/>
                  </a:lnTo>
                  <a:lnTo>
                    <a:pt x="624" y="1120"/>
                  </a:lnTo>
                  <a:lnTo>
                    <a:pt x="698" y="1120"/>
                  </a:lnTo>
                  <a:lnTo>
                    <a:pt x="698" y="1268"/>
                  </a:lnTo>
                  <a:close/>
                  <a:moveTo>
                    <a:pt x="698" y="1036"/>
                  </a:moveTo>
                  <a:lnTo>
                    <a:pt x="624" y="1036"/>
                  </a:lnTo>
                  <a:lnTo>
                    <a:pt x="624" y="888"/>
                  </a:lnTo>
                  <a:lnTo>
                    <a:pt x="698" y="888"/>
                  </a:lnTo>
                  <a:lnTo>
                    <a:pt x="698" y="1036"/>
                  </a:lnTo>
                  <a:close/>
                  <a:moveTo>
                    <a:pt x="698" y="655"/>
                  </a:moveTo>
                  <a:lnTo>
                    <a:pt x="698" y="803"/>
                  </a:lnTo>
                  <a:lnTo>
                    <a:pt x="624" y="803"/>
                  </a:lnTo>
                  <a:lnTo>
                    <a:pt x="624" y="655"/>
                  </a:lnTo>
                  <a:lnTo>
                    <a:pt x="698" y="655"/>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7" name="Freeform 8"/>
            <p:cNvSpPr>
              <a:spLocks noEditPoints="1"/>
            </p:cNvSpPr>
            <p:nvPr/>
          </p:nvSpPr>
          <p:spPr bwMode="auto">
            <a:xfrm>
              <a:off x="3486036" y="3551844"/>
              <a:ext cx="470033" cy="909021"/>
            </a:xfrm>
            <a:custGeom>
              <a:avLst/>
              <a:gdLst>
                <a:gd name="T0" fmla="*/ 169 w 549"/>
                <a:gd name="T1" fmla="*/ 0 h 1427"/>
                <a:gd name="T2" fmla="*/ 84 w 549"/>
                <a:gd name="T3" fmla="*/ 0 h 1427"/>
                <a:gd name="T4" fmla="*/ 84 w 549"/>
                <a:gd name="T5" fmla="*/ 137 h 1427"/>
                <a:gd name="T6" fmla="*/ 0 w 549"/>
                <a:gd name="T7" fmla="*/ 137 h 1427"/>
                <a:gd name="T8" fmla="*/ 0 w 549"/>
                <a:gd name="T9" fmla="*/ 1427 h 1427"/>
                <a:gd name="T10" fmla="*/ 549 w 549"/>
                <a:gd name="T11" fmla="*/ 1427 h 1427"/>
                <a:gd name="T12" fmla="*/ 549 w 549"/>
                <a:gd name="T13" fmla="*/ 137 h 1427"/>
                <a:gd name="T14" fmla="*/ 169 w 549"/>
                <a:gd name="T15" fmla="*/ 137 h 1427"/>
                <a:gd name="T16" fmla="*/ 169 w 549"/>
                <a:gd name="T17" fmla="*/ 0 h 1427"/>
                <a:gd name="T18" fmla="*/ 486 w 549"/>
                <a:gd name="T19" fmla="*/ 1131 h 1427"/>
                <a:gd name="T20" fmla="*/ 52 w 549"/>
                <a:gd name="T21" fmla="*/ 1131 h 1427"/>
                <a:gd name="T22" fmla="*/ 52 w 549"/>
                <a:gd name="T23" fmla="*/ 1088 h 1427"/>
                <a:gd name="T24" fmla="*/ 486 w 549"/>
                <a:gd name="T25" fmla="*/ 1088 h 1427"/>
                <a:gd name="T26" fmla="*/ 486 w 549"/>
                <a:gd name="T27" fmla="*/ 1131 h 1427"/>
                <a:gd name="T28" fmla="*/ 486 w 549"/>
                <a:gd name="T29" fmla="*/ 1004 h 1427"/>
                <a:gd name="T30" fmla="*/ 52 w 549"/>
                <a:gd name="T31" fmla="*/ 1004 h 1427"/>
                <a:gd name="T32" fmla="*/ 52 w 549"/>
                <a:gd name="T33" fmla="*/ 962 h 1427"/>
                <a:gd name="T34" fmla="*/ 486 w 549"/>
                <a:gd name="T35" fmla="*/ 962 h 1427"/>
                <a:gd name="T36" fmla="*/ 486 w 549"/>
                <a:gd name="T37" fmla="*/ 1004 h 1427"/>
                <a:gd name="T38" fmla="*/ 486 w 549"/>
                <a:gd name="T39" fmla="*/ 888 h 1427"/>
                <a:gd name="T40" fmla="*/ 52 w 549"/>
                <a:gd name="T41" fmla="*/ 888 h 1427"/>
                <a:gd name="T42" fmla="*/ 52 w 549"/>
                <a:gd name="T43" fmla="*/ 835 h 1427"/>
                <a:gd name="T44" fmla="*/ 486 w 549"/>
                <a:gd name="T45" fmla="*/ 835 h 1427"/>
                <a:gd name="T46" fmla="*/ 486 w 549"/>
                <a:gd name="T47" fmla="*/ 888 h 1427"/>
                <a:gd name="T48" fmla="*/ 486 w 549"/>
                <a:gd name="T49" fmla="*/ 761 h 1427"/>
                <a:gd name="T50" fmla="*/ 52 w 549"/>
                <a:gd name="T51" fmla="*/ 761 h 1427"/>
                <a:gd name="T52" fmla="*/ 52 w 549"/>
                <a:gd name="T53" fmla="*/ 708 h 1427"/>
                <a:gd name="T54" fmla="*/ 486 w 549"/>
                <a:gd name="T55" fmla="*/ 708 h 1427"/>
                <a:gd name="T56" fmla="*/ 486 w 549"/>
                <a:gd name="T57" fmla="*/ 761 h 1427"/>
                <a:gd name="T58" fmla="*/ 486 w 549"/>
                <a:gd name="T59" fmla="*/ 634 h 1427"/>
                <a:gd name="T60" fmla="*/ 52 w 549"/>
                <a:gd name="T61" fmla="*/ 634 h 1427"/>
                <a:gd name="T62" fmla="*/ 52 w 549"/>
                <a:gd name="T63" fmla="*/ 592 h 1427"/>
                <a:gd name="T64" fmla="*/ 486 w 549"/>
                <a:gd name="T65" fmla="*/ 592 h 1427"/>
                <a:gd name="T66" fmla="*/ 486 w 549"/>
                <a:gd name="T67" fmla="*/ 634 h 1427"/>
                <a:gd name="T68" fmla="*/ 486 w 549"/>
                <a:gd name="T69" fmla="*/ 507 h 1427"/>
                <a:gd name="T70" fmla="*/ 52 w 549"/>
                <a:gd name="T71" fmla="*/ 507 h 1427"/>
                <a:gd name="T72" fmla="*/ 52 w 549"/>
                <a:gd name="T73" fmla="*/ 465 h 1427"/>
                <a:gd name="T74" fmla="*/ 486 w 549"/>
                <a:gd name="T75" fmla="*/ 465 h 1427"/>
                <a:gd name="T76" fmla="*/ 486 w 549"/>
                <a:gd name="T77" fmla="*/ 507 h 1427"/>
                <a:gd name="T78" fmla="*/ 486 w 549"/>
                <a:gd name="T79" fmla="*/ 391 h 1427"/>
                <a:gd name="T80" fmla="*/ 52 w 549"/>
                <a:gd name="T81" fmla="*/ 391 h 1427"/>
                <a:gd name="T82" fmla="*/ 52 w 549"/>
                <a:gd name="T83" fmla="*/ 338 h 1427"/>
                <a:gd name="T84" fmla="*/ 486 w 549"/>
                <a:gd name="T85" fmla="*/ 338 h 1427"/>
                <a:gd name="T86" fmla="*/ 486 w 549"/>
                <a:gd name="T87" fmla="*/ 391 h 1427"/>
                <a:gd name="T88" fmla="*/ 486 w 549"/>
                <a:gd name="T89" fmla="*/ 222 h 1427"/>
                <a:gd name="T90" fmla="*/ 486 w 549"/>
                <a:gd name="T91" fmla="*/ 264 h 1427"/>
                <a:gd name="T92" fmla="*/ 52 w 549"/>
                <a:gd name="T93" fmla="*/ 264 h 1427"/>
                <a:gd name="T94" fmla="*/ 52 w 549"/>
                <a:gd name="T95" fmla="*/ 222 h 1427"/>
                <a:gd name="T96" fmla="*/ 486 w 549"/>
                <a:gd name="T97" fmla="*/ 222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9" h="1427">
                  <a:moveTo>
                    <a:pt x="169" y="0"/>
                  </a:moveTo>
                  <a:lnTo>
                    <a:pt x="84" y="0"/>
                  </a:lnTo>
                  <a:lnTo>
                    <a:pt x="84" y="137"/>
                  </a:lnTo>
                  <a:lnTo>
                    <a:pt x="0" y="137"/>
                  </a:lnTo>
                  <a:lnTo>
                    <a:pt x="0" y="1427"/>
                  </a:lnTo>
                  <a:lnTo>
                    <a:pt x="549" y="1427"/>
                  </a:lnTo>
                  <a:lnTo>
                    <a:pt x="549" y="137"/>
                  </a:lnTo>
                  <a:lnTo>
                    <a:pt x="169" y="137"/>
                  </a:lnTo>
                  <a:lnTo>
                    <a:pt x="169" y="0"/>
                  </a:lnTo>
                  <a:close/>
                  <a:moveTo>
                    <a:pt x="486" y="1131"/>
                  </a:moveTo>
                  <a:lnTo>
                    <a:pt x="52" y="1131"/>
                  </a:lnTo>
                  <a:lnTo>
                    <a:pt x="52" y="1088"/>
                  </a:lnTo>
                  <a:lnTo>
                    <a:pt x="486" y="1088"/>
                  </a:lnTo>
                  <a:lnTo>
                    <a:pt x="486" y="1131"/>
                  </a:lnTo>
                  <a:close/>
                  <a:moveTo>
                    <a:pt x="486" y="1004"/>
                  </a:moveTo>
                  <a:lnTo>
                    <a:pt x="52" y="1004"/>
                  </a:lnTo>
                  <a:lnTo>
                    <a:pt x="52" y="962"/>
                  </a:lnTo>
                  <a:lnTo>
                    <a:pt x="486" y="962"/>
                  </a:lnTo>
                  <a:lnTo>
                    <a:pt x="486" y="1004"/>
                  </a:lnTo>
                  <a:close/>
                  <a:moveTo>
                    <a:pt x="486" y="888"/>
                  </a:moveTo>
                  <a:lnTo>
                    <a:pt x="52" y="888"/>
                  </a:lnTo>
                  <a:lnTo>
                    <a:pt x="52" y="835"/>
                  </a:lnTo>
                  <a:lnTo>
                    <a:pt x="486" y="835"/>
                  </a:lnTo>
                  <a:lnTo>
                    <a:pt x="486" y="888"/>
                  </a:lnTo>
                  <a:close/>
                  <a:moveTo>
                    <a:pt x="486" y="761"/>
                  </a:moveTo>
                  <a:lnTo>
                    <a:pt x="52" y="761"/>
                  </a:lnTo>
                  <a:lnTo>
                    <a:pt x="52" y="708"/>
                  </a:lnTo>
                  <a:lnTo>
                    <a:pt x="486" y="708"/>
                  </a:lnTo>
                  <a:lnTo>
                    <a:pt x="486" y="761"/>
                  </a:lnTo>
                  <a:close/>
                  <a:moveTo>
                    <a:pt x="486" y="634"/>
                  </a:moveTo>
                  <a:lnTo>
                    <a:pt x="52" y="634"/>
                  </a:lnTo>
                  <a:lnTo>
                    <a:pt x="52" y="592"/>
                  </a:lnTo>
                  <a:lnTo>
                    <a:pt x="486" y="592"/>
                  </a:lnTo>
                  <a:lnTo>
                    <a:pt x="486" y="634"/>
                  </a:lnTo>
                  <a:close/>
                  <a:moveTo>
                    <a:pt x="486" y="507"/>
                  </a:moveTo>
                  <a:lnTo>
                    <a:pt x="52" y="507"/>
                  </a:lnTo>
                  <a:lnTo>
                    <a:pt x="52" y="465"/>
                  </a:lnTo>
                  <a:lnTo>
                    <a:pt x="486" y="465"/>
                  </a:lnTo>
                  <a:lnTo>
                    <a:pt x="486" y="507"/>
                  </a:lnTo>
                  <a:close/>
                  <a:moveTo>
                    <a:pt x="486" y="391"/>
                  </a:moveTo>
                  <a:lnTo>
                    <a:pt x="52" y="391"/>
                  </a:lnTo>
                  <a:lnTo>
                    <a:pt x="52" y="338"/>
                  </a:lnTo>
                  <a:lnTo>
                    <a:pt x="486" y="338"/>
                  </a:lnTo>
                  <a:lnTo>
                    <a:pt x="486" y="391"/>
                  </a:lnTo>
                  <a:close/>
                  <a:moveTo>
                    <a:pt x="486" y="222"/>
                  </a:moveTo>
                  <a:lnTo>
                    <a:pt x="486" y="264"/>
                  </a:lnTo>
                  <a:lnTo>
                    <a:pt x="52" y="264"/>
                  </a:lnTo>
                  <a:lnTo>
                    <a:pt x="52" y="222"/>
                  </a:lnTo>
                  <a:lnTo>
                    <a:pt x="486" y="222"/>
                  </a:lnTo>
                  <a:close/>
                </a:path>
              </a:pathLst>
            </a:cu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8" name="Freeform 9"/>
            <p:cNvSpPr>
              <a:spLocks noEditPoints="1"/>
            </p:cNvSpPr>
            <p:nvPr/>
          </p:nvSpPr>
          <p:spPr bwMode="auto">
            <a:xfrm>
              <a:off x="7946637" y="3511075"/>
              <a:ext cx="588183" cy="949790"/>
            </a:xfrm>
            <a:custGeom>
              <a:avLst/>
              <a:gdLst>
                <a:gd name="T0" fmla="*/ 370 w 687"/>
                <a:gd name="T1" fmla="*/ 85 h 1491"/>
                <a:gd name="T2" fmla="*/ 296 w 687"/>
                <a:gd name="T3" fmla="*/ 201 h 1491"/>
                <a:gd name="T4" fmla="*/ 254 w 687"/>
                <a:gd name="T5" fmla="*/ 0 h 1491"/>
                <a:gd name="T6" fmla="*/ 169 w 687"/>
                <a:gd name="T7" fmla="*/ 201 h 1491"/>
                <a:gd name="T8" fmla="*/ 0 w 687"/>
                <a:gd name="T9" fmla="*/ 1491 h 1491"/>
                <a:gd name="T10" fmla="*/ 687 w 687"/>
                <a:gd name="T11" fmla="*/ 201 h 1491"/>
                <a:gd name="T12" fmla="*/ 370 w 687"/>
                <a:gd name="T13" fmla="*/ 1385 h 1491"/>
                <a:gd name="T14" fmla="*/ 317 w 687"/>
                <a:gd name="T15" fmla="*/ 1300 h 1491"/>
                <a:gd name="T16" fmla="*/ 370 w 687"/>
                <a:gd name="T17" fmla="*/ 1385 h 1491"/>
                <a:gd name="T18" fmla="*/ 317 w 687"/>
                <a:gd name="T19" fmla="*/ 1269 h 1491"/>
                <a:gd name="T20" fmla="*/ 370 w 687"/>
                <a:gd name="T21" fmla="*/ 1195 h 1491"/>
                <a:gd name="T22" fmla="*/ 370 w 687"/>
                <a:gd name="T23" fmla="*/ 1163 h 1491"/>
                <a:gd name="T24" fmla="*/ 317 w 687"/>
                <a:gd name="T25" fmla="*/ 1089 h 1491"/>
                <a:gd name="T26" fmla="*/ 370 w 687"/>
                <a:gd name="T27" fmla="*/ 1163 h 1491"/>
                <a:gd name="T28" fmla="*/ 317 w 687"/>
                <a:gd name="T29" fmla="*/ 1057 h 1491"/>
                <a:gd name="T30" fmla="*/ 370 w 687"/>
                <a:gd name="T31" fmla="*/ 983 h 1491"/>
                <a:gd name="T32" fmla="*/ 370 w 687"/>
                <a:gd name="T33" fmla="*/ 952 h 1491"/>
                <a:gd name="T34" fmla="*/ 317 w 687"/>
                <a:gd name="T35" fmla="*/ 867 h 1491"/>
                <a:gd name="T36" fmla="*/ 370 w 687"/>
                <a:gd name="T37" fmla="*/ 952 h 1491"/>
                <a:gd name="T38" fmla="*/ 317 w 687"/>
                <a:gd name="T39" fmla="*/ 835 h 1491"/>
                <a:gd name="T40" fmla="*/ 370 w 687"/>
                <a:gd name="T41" fmla="*/ 761 h 1491"/>
                <a:gd name="T42" fmla="*/ 370 w 687"/>
                <a:gd name="T43" fmla="*/ 730 h 1491"/>
                <a:gd name="T44" fmla="*/ 317 w 687"/>
                <a:gd name="T45" fmla="*/ 656 h 1491"/>
                <a:gd name="T46" fmla="*/ 370 w 687"/>
                <a:gd name="T47" fmla="*/ 730 h 1491"/>
                <a:gd name="T48" fmla="*/ 317 w 687"/>
                <a:gd name="T49" fmla="*/ 624 h 1491"/>
                <a:gd name="T50" fmla="*/ 370 w 687"/>
                <a:gd name="T51" fmla="*/ 539 h 1491"/>
                <a:gd name="T52" fmla="*/ 370 w 687"/>
                <a:gd name="T53" fmla="*/ 518 h 1491"/>
                <a:gd name="T54" fmla="*/ 317 w 687"/>
                <a:gd name="T55" fmla="*/ 434 h 1491"/>
                <a:gd name="T56" fmla="*/ 370 w 687"/>
                <a:gd name="T57" fmla="*/ 518 h 1491"/>
                <a:gd name="T58" fmla="*/ 317 w 687"/>
                <a:gd name="T59" fmla="*/ 402 h 1491"/>
                <a:gd name="T60" fmla="*/ 370 w 687"/>
                <a:gd name="T61" fmla="*/ 328 h 1491"/>
                <a:gd name="T62" fmla="*/ 497 w 687"/>
                <a:gd name="T63" fmla="*/ 1385 h 1491"/>
                <a:gd name="T64" fmla="*/ 433 w 687"/>
                <a:gd name="T65" fmla="*/ 1300 h 1491"/>
                <a:gd name="T66" fmla="*/ 497 w 687"/>
                <a:gd name="T67" fmla="*/ 1385 h 1491"/>
                <a:gd name="T68" fmla="*/ 433 w 687"/>
                <a:gd name="T69" fmla="*/ 1269 h 1491"/>
                <a:gd name="T70" fmla="*/ 497 w 687"/>
                <a:gd name="T71" fmla="*/ 1195 h 1491"/>
                <a:gd name="T72" fmla="*/ 497 w 687"/>
                <a:gd name="T73" fmla="*/ 1163 h 1491"/>
                <a:gd name="T74" fmla="*/ 433 w 687"/>
                <a:gd name="T75" fmla="*/ 1089 h 1491"/>
                <a:gd name="T76" fmla="*/ 497 w 687"/>
                <a:gd name="T77" fmla="*/ 1163 h 1491"/>
                <a:gd name="T78" fmla="*/ 433 w 687"/>
                <a:gd name="T79" fmla="*/ 1057 h 1491"/>
                <a:gd name="T80" fmla="*/ 497 w 687"/>
                <a:gd name="T81" fmla="*/ 983 h 1491"/>
                <a:gd name="T82" fmla="*/ 497 w 687"/>
                <a:gd name="T83" fmla="*/ 952 h 1491"/>
                <a:gd name="T84" fmla="*/ 433 w 687"/>
                <a:gd name="T85" fmla="*/ 867 h 1491"/>
                <a:gd name="T86" fmla="*/ 497 w 687"/>
                <a:gd name="T87" fmla="*/ 952 h 1491"/>
                <a:gd name="T88" fmla="*/ 433 w 687"/>
                <a:gd name="T89" fmla="*/ 835 h 1491"/>
                <a:gd name="T90" fmla="*/ 497 w 687"/>
                <a:gd name="T91" fmla="*/ 761 h 1491"/>
                <a:gd name="T92" fmla="*/ 497 w 687"/>
                <a:gd name="T93" fmla="*/ 730 h 1491"/>
                <a:gd name="T94" fmla="*/ 433 w 687"/>
                <a:gd name="T95" fmla="*/ 656 h 1491"/>
                <a:gd name="T96" fmla="*/ 497 w 687"/>
                <a:gd name="T97" fmla="*/ 730 h 1491"/>
                <a:gd name="T98" fmla="*/ 433 w 687"/>
                <a:gd name="T99" fmla="*/ 624 h 1491"/>
                <a:gd name="T100" fmla="*/ 497 w 687"/>
                <a:gd name="T101" fmla="*/ 539 h 1491"/>
                <a:gd name="T102" fmla="*/ 497 w 687"/>
                <a:gd name="T103" fmla="*/ 518 h 1491"/>
                <a:gd name="T104" fmla="*/ 433 w 687"/>
                <a:gd name="T105" fmla="*/ 434 h 1491"/>
                <a:gd name="T106" fmla="*/ 497 w 687"/>
                <a:gd name="T107" fmla="*/ 518 h 1491"/>
                <a:gd name="T108" fmla="*/ 433 w 687"/>
                <a:gd name="T109" fmla="*/ 402 h 1491"/>
                <a:gd name="T110" fmla="*/ 497 w 687"/>
                <a:gd name="T111" fmla="*/ 328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7" h="1491">
                  <a:moveTo>
                    <a:pt x="370" y="201"/>
                  </a:moveTo>
                  <a:lnTo>
                    <a:pt x="370" y="85"/>
                  </a:lnTo>
                  <a:lnTo>
                    <a:pt x="296" y="85"/>
                  </a:lnTo>
                  <a:lnTo>
                    <a:pt x="296" y="201"/>
                  </a:lnTo>
                  <a:lnTo>
                    <a:pt x="254" y="201"/>
                  </a:lnTo>
                  <a:lnTo>
                    <a:pt x="254" y="0"/>
                  </a:lnTo>
                  <a:lnTo>
                    <a:pt x="169" y="0"/>
                  </a:lnTo>
                  <a:lnTo>
                    <a:pt x="169" y="201"/>
                  </a:lnTo>
                  <a:lnTo>
                    <a:pt x="0" y="201"/>
                  </a:lnTo>
                  <a:lnTo>
                    <a:pt x="0" y="1491"/>
                  </a:lnTo>
                  <a:lnTo>
                    <a:pt x="687" y="1491"/>
                  </a:lnTo>
                  <a:lnTo>
                    <a:pt x="687" y="201"/>
                  </a:lnTo>
                  <a:lnTo>
                    <a:pt x="370" y="201"/>
                  </a:lnTo>
                  <a:close/>
                  <a:moveTo>
                    <a:pt x="370" y="1385"/>
                  </a:moveTo>
                  <a:lnTo>
                    <a:pt x="317" y="1385"/>
                  </a:lnTo>
                  <a:lnTo>
                    <a:pt x="317" y="1300"/>
                  </a:lnTo>
                  <a:lnTo>
                    <a:pt x="370" y="1300"/>
                  </a:lnTo>
                  <a:lnTo>
                    <a:pt x="370" y="1385"/>
                  </a:lnTo>
                  <a:close/>
                  <a:moveTo>
                    <a:pt x="370" y="1269"/>
                  </a:moveTo>
                  <a:lnTo>
                    <a:pt x="317" y="1269"/>
                  </a:lnTo>
                  <a:lnTo>
                    <a:pt x="317" y="1195"/>
                  </a:lnTo>
                  <a:lnTo>
                    <a:pt x="370" y="1195"/>
                  </a:lnTo>
                  <a:lnTo>
                    <a:pt x="370" y="1269"/>
                  </a:lnTo>
                  <a:close/>
                  <a:moveTo>
                    <a:pt x="370" y="1163"/>
                  </a:moveTo>
                  <a:lnTo>
                    <a:pt x="317" y="1163"/>
                  </a:lnTo>
                  <a:lnTo>
                    <a:pt x="317" y="1089"/>
                  </a:lnTo>
                  <a:lnTo>
                    <a:pt x="370" y="1089"/>
                  </a:lnTo>
                  <a:lnTo>
                    <a:pt x="370" y="1163"/>
                  </a:lnTo>
                  <a:close/>
                  <a:moveTo>
                    <a:pt x="370" y="1057"/>
                  </a:moveTo>
                  <a:lnTo>
                    <a:pt x="317" y="1057"/>
                  </a:lnTo>
                  <a:lnTo>
                    <a:pt x="317" y="983"/>
                  </a:lnTo>
                  <a:lnTo>
                    <a:pt x="370" y="983"/>
                  </a:lnTo>
                  <a:lnTo>
                    <a:pt x="370" y="1057"/>
                  </a:lnTo>
                  <a:close/>
                  <a:moveTo>
                    <a:pt x="370" y="952"/>
                  </a:moveTo>
                  <a:lnTo>
                    <a:pt x="317" y="952"/>
                  </a:lnTo>
                  <a:lnTo>
                    <a:pt x="317" y="867"/>
                  </a:lnTo>
                  <a:lnTo>
                    <a:pt x="370" y="867"/>
                  </a:lnTo>
                  <a:lnTo>
                    <a:pt x="370" y="952"/>
                  </a:lnTo>
                  <a:close/>
                  <a:moveTo>
                    <a:pt x="370" y="835"/>
                  </a:moveTo>
                  <a:lnTo>
                    <a:pt x="317" y="835"/>
                  </a:lnTo>
                  <a:lnTo>
                    <a:pt x="317" y="761"/>
                  </a:lnTo>
                  <a:lnTo>
                    <a:pt x="370" y="761"/>
                  </a:lnTo>
                  <a:lnTo>
                    <a:pt x="370" y="835"/>
                  </a:lnTo>
                  <a:close/>
                  <a:moveTo>
                    <a:pt x="370" y="730"/>
                  </a:moveTo>
                  <a:lnTo>
                    <a:pt x="317" y="730"/>
                  </a:lnTo>
                  <a:lnTo>
                    <a:pt x="317" y="656"/>
                  </a:lnTo>
                  <a:lnTo>
                    <a:pt x="370" y="656"/>
                  </a:lnTo>
                  <a:lnTo>
                    <a:pt x="370" y="730"/>
                  </a:lnTo>
                  <a:close/>
                  <a:moveTo>
                    <a:pt x="370" y="624"/>
                  </a:moveTo>
                  <a:lnTo>
                    <a:pt x="317" y="624"/>
                  </a:lnTo>
                  <a:lnTo>
                    <a:pt x="317" y="539"/>
                  </a:lnTo>
                  <a:lnTo>
                    <a:pt x="370" y="539"/>
                  </a:lnTo>
                  <a:lnTo>
                    <a:pt x="370" y="624"/>
                  </a:lnTo>
                  <a:close/>
                  <a:moveTo>
                    <a:pt x="370" y="518"/>
                  </a:moveTo>
                  <a:lnTo>
                    <a:pt x="317" y="518"/>
                  </a:lnTo>
                  <a:lnTo>
                    <a:pt x="317" y="434"/>
                  </a:lnTo>
                  <a:lnTo>
                    <a:pt x="370" y="434"/>
                  </a:lnTo>
                  <a:lnTo>
                    <a:pt x="370" y="518"/>
                  </a:lnTo>
                  <a:close/>
                  <a:moveTo>
                    <a:pt x="370" y="402"/>
                  </a:moveTo>
                  <a:lnTo>
                    <a:pt x="317" y="402"/>
                  </a:lnTo>
                  <a:lnTo>
                    <a:pt x="317" y="328"/>
                  </a:lnTo>
                  <a:lnTo>
                    <a:pt x="370" y="328"/>
                  </a:lnTo>
                  <a:lnTo>
                    <a:pt x="370" y="402"/>
                  </a:lnTo>
                  <a:close/>
                  <a:moveTo>
                    <a:pt x="497" y="1385"/>
                  </a:moveTo>
                  <a:lnTo>
                    <a:pt x="433" y="1385"/>
                  </a:lnTo>
                  <a:lnTo>
                    <a:pt x="433" y="1300"/>
                  </a:lnTo>
                  <a:lnTo>
                    <a:pt x="497" y="1300"/>
                  </a:lnTo>
                  <a:lnTo>
                    <a:pt x="497" y="1385"/>
                  </a:lnTo>
                  <a:close/>
                  <a:moveTo>
                    <a:pt x="497" y="1269"/>
                  </a:moveTo>
                  <a:lnTo>
                    <a:pt x="433" y="1269"/>
                  </a:lnTo>
                  <a:lnTo>
                    <a:pt x="433" y="1195"/>
                  </a:lnTo>
                  <a:lnTo>
                    <a:pt x="497" y="1195"/>
                  </a:lnTo>
                  <a:lnTo>
                    <a:pt x="497" y="1269"/>
                  </a:lnTo>
                  <a:close/>
                  <a:moveTo>
                    <a:pt x="497" y="1163"/>
                  </a:moveTo>
                  <a:lnTo>
                    <a:pt x="433" y="1163"/>
                  </a:lnTo>
                  <a:lnTo>
                    <a:pt x="433" y="1089"/>
                  </a:lnTo>
                  <a:lnTo>
                    <a:pt x="497" y="1089"/>
                  </a:lnTo>
                  <a:lnTo>
                    <a:pt x="497" y="1163"/>
                  </a:lnTo>
                  <a:close/>
                  <a:moveTo>
                    <a:pt x="497" y="1057"/>
                  </a:moveTo>
                  <a:lnTo>
                    <a:pt x="433" y="1057"/>
                  </a:lnTo>
                  <a:lnTo>
                    <a:pt x="433" y="983"/>
                  </a:lnTo>
                  <a:lnTo>
                    <a:pt x="497" y="983"/>
                  </a:lnTo>
                  <a:lnTo>
                    <a:pt x="497" y="1057"/>
                  </a:lnTo>
                  <a:close/>
                  <a:moveTo>
                    <a:pt x="497" y="952"/>
                  </a:moveTo>
                  <a:lnTo>
                    <a:pt x="433" y="952"/>
                  </a:lnTo>
                  <a:lnTo>
                    <a:pt x="433" y="867"/>
                  </a:lnTo>
                  <a:lnTo>
                    <a:pt x="497" y="867"/>
                  </a:lnTo>
                  <a:lnTo>
                    <a:pt x="497" y="952"/>
                  </a:lnTo>
                  <a:close/>
                  <a:moveTo>
                    <a:pt x="497" y="835"/>
                  </a:moveTo>
                  <a:lnTo>
                    <a:pt x="433" y="835"/>
                  </a:lnTo>
                  <a:lnTo>
                    <a:pt x="433" y="761"/>
                  </a:lnTo>
                  <a:lnTo>
                    <a:pt x="497" y="761"/>
                  </a:lnTo>
                  <a:lnTo>
                    <a:pt x="497" y="835"/>
                  </a:lnTo>
                  <a:close/>
                  <a:moveTo>
                    <a:pt x="497" y="730"/>
                  </a:moveTo>
                  <a:lnTo>
                    <a:pt x="433" y="730"/>
                  </a:lnTo>
                  <a:lnTo>
                    <a:pt x="433" y="656"/>
                  </a:lnTo>
                  <a:lnTo>
                    <a:pt x="497" y="656"/>
                  </a:lnTo>
                  <a:lnTo>
                    <a:pt x="497" y="730"/>
                  </a:lnTo>
                  <a:close/>
                  <a:moveTo>
                    <a:pt x="497" y="624"/>
                  </a:moveTo>
                  <a:lnTo>
                    <a:pt x="433" y="624"/>
                  </a:lnTo>
                  <a:lnTo>
                    <a:pt x="433" y="539"/>
                  </a:lnTo>
                  <a:lnTo>
                    <a:pt x="497" y="539"/>
                  </a:lnTo>
                  <a:lnTo>
                    <a:pt x="497" y="624"/>
                  </a:lnTo>
                  <a:close/>
                  <a:moveTo>
                    <a:pt x="497" y="518"/>
                  </a:moveTo>
                  <a:lnTo>
                    <a:pt x="433" y="518"/>
                  </a:lnTo>
                  <a:lnTo>
                    <a:pt x="433" y="434"/>
                  </a:lnTo>
                  <a:lnTo>
                    <a:pt x="497" y="434"/>
                  </a:lnTo>
                  <a:lnTo>
                    <a:pt x="497" y="518"/>
                  </a:lnTo>
                  <a:close/>
                  <a:moveTo>
                    <a:pt x="497" y="402"/>
                  </a:moveTo>
                  <a:lnTo>
                    <a:pt x="433" y="402"/>
                  </a:lnTo>
                  <a:lnTo>
                    <a:pt x="433" y="328"/>
                  </a:lnTo>
                  <a:lnTo>
                    <a:pt x="497" y="328"/>
                  </a:lnTo>
                  <a:lnTo>
                    <a:pt x="497" y="402"/>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89" name="Freeform 10"/>
            <p:cNvSpPr>
              <a:spLocks noEditPoints="1"/>
            </p:cNvSpPr>
            <p:nvPr/>
          </p:nvSpPr>
          <p:spPr bwMode="auto">
            <a:xfrm>
              <a:off x="5322503" y="1653540"/>
              <a:ext cx="588183" cy="2807325"/>
            </a:xfrm>
            <a:custGeom>
              <a:avLst/>
              <a:gdLst>
                <a:gd name="T0" fmla="*/ 687 w 687"/>
                <a:gd name="T1" fmla="*/ 4407 h 4407"/>
                <a:gd name="T2" fmla="*/ 433 w 687"/>
                <a:gd name="T3" fmla="*/ 4302 h 4407"/>
                <a:gd name="T4" fmla="*/ 624 w 687"/>
                <a:gd name="T5" fmla="*/ 3667 h 4407"/>
                <a:gd name="T6" fmla="*/ 507 w 687"/>
                <a:gd name="T7" fmla="*/ 444 h 4407"/>
                <a:gd name="T8" fmla="*/ 507 w 687"/>
                <a:gd name="T9" fmla="*/ 740 h 4407"/>
                <a:gd name="T10" fmla="*/ 581 w 687"/>
                <a:gd name="T11" fmla="*/ 972 h 4407"/>
                <a:gd name="T12" fmla="*/ 581 w 687"/>
                <a:gd name="T13" fmla="*/ 1247 h 4407"/>
                <a:gd name="T14" fmla="*/ 507 w 687"/>
                <a:gd name="T15" fmla="*/ 1480 h 4407"/>
                <a:gd name="T16" fmla="*/ 507 w 687"/>
                <a:gd name="T17" fmla="*/ 1638 h 4407"/>
                <a:gd name="T18" fmla="*/ 507 w 687"/>
                <a:gd name="T19" fmla="*/ 1934 h 4407"/>
                <a:gd name="T20" fmla="*/ 581 w 687"/>
                <a:gd name="T21" fmla="*/ 2251 h 4407"/>
                <a:gd name="T22" fmla="*/ 581 w 687"/>
                <a:gd name="T23" fmla="*/ 2515 h 4407"/>
                <a:gd name="T24" fmla="*/ 507 w 687"/>
                <a:gd name="T25" fmla="*/ 2759 h 4407"/>
                <a:gd name="T26" fmla="*/ 507 w 687"/>
                <a:gd name="T27" fmla="*/ 2917 h 4407"/>
                <a:gd name="T28" fmla="*/ 507 w 687"/>
                <a:gd name="T29" fmla="*/ 3202 h 4407"/>
                <a:gd name="T30" fmla="*/ 486 w 687"/>
                <a:gd name="T31" fmla="*/ 497 h 4407"/>
                <a:gd name="T32" fmla="*/ 486 w 687"/>
                <a:gd name="T33" fmla="*/ 687 h 4407"/>
                <a:gd name="T34" fmla="*/ 402 w 687"/>
                <a:gd name="T35" fmla="*/ 930 h 4407"/>
                <a:gd name="T36" fmla="*/ 402 w 687"/>
                <a:gd name="T37" fmla="*/ 1089 h 4407"/>
                <a:gd name="T38" fmla="*/ 402 w 687"/>
                <a:gd name="T39" fmla="*/ 1533 h 4407"/>
                <a:gd name="T40" fmla="*/ 486 w 687"/>
                <a:gd name="T41" fmla="*/ 1850 h 4407"/>
                <a:gd name="T42" fmla="*/ 486 w 687"/>
                <a:gd name="T43" fmla="*/ 2124 h 4407"/>
                <a:gd name="T44" fmla="*/ 402 w 687"/>
                <a:gd name="T45" fmla="*/ 2441 h 4407"/>
                <a:gd name="T46" fmla="*/ 402 w 687"/>
                <a:gd name="T47" fmla="*/ 2674 h 4407"/>
                <a:gd name="T48" fmla="*/ 402 w 687"/>
                <a:gd name="T49" fmla="*/ 3044 h 4407"/>
                <a:gd name="T50" fmla="*/ 381 w 687"/>
                <a:gd name="T51" fmla="*/ 412 h 4407"/>
                <a:gd name="T52" fmla="*/ 381 w 687"/>
                <a:gd name="T53" fmla="*/ 602 h 4407"/>
                <a:gd name="T54" fmla="*/ 307 w 687"/>
                <a:gd name="T55" fmla="*/ 930 h 4407"/>
                <a:gd name="T56" fmla="*/ 307 w 687"/>
                <a:gd name="T57" fmla="*/ 1089 h 4407"/>
                <a:gd name="T58" fmla="*/ 307 w 687"/>
                <a:gd name="T59" fmla="*/ 1374 h 4407"/>
                <a:gd name="T60" fmla="*/ 381 w 687"/>
                <a:gd name="T61" fmla="*/ 1607 h 4407"/>
                <a:gd name="T62" fmla="*/ 381 w 687"/>
                <a:gd name="T63" fmla="*/ 1797 h 4407"/>
                <a:gd name="T64" fmla="*/ 307 w 687"/>
                <a:gd name="T65" fmla="*/ 2040 h 4407"/>
                <a:gd name="T66" fmla="*/ 307 w 687"/>
                <a:gd name="T67" fmla="*/ 2198 h 4407"/>
                <a:gd name="T68" fmla="*/ 307 w 687"/>
                <a:gd name="T69" fmla="*/ 2484 h 4407"/>
                <a:gd name="T70" fmla="*/ 381 w 687"/>
                <a:gd name="T71" fmla="*/ 2727 h 4407"/>
                <a:gd name="T72" fmla="*/ 381 w 687"/>
                <a:gd name="T73" fmla="*/ 2917 h 4407"/>
                <a:gd name="T74" fmla="*/ 307 w 687"/>
                <a:gd name="T75" fmla="*/ 3160 h 4407"/>
                <a:gd name="T76" fmla="*/ 211 w 687"/>
                <a:gd name="T77" fmla="*/ 444 h 4407"/>
                <a:gd name="T78" fmla="*/ 211 w 687"/>
                <a:gd name="T79" fmla="*/ 740 h 4407"/>
                <a:gd name="T80" fmla="*/ 285 w 687"/>
                <a:gd name="T81" fmla="*/ 1057 h 4407"/>
                <a:gd name="T82" fmla="*/ 285 w 687"/>
                <a:gd name="T83" fmla="*/ 1247 h 4407"/>
                <a:gd name="T84" fmla="*/ 211 w 687"/>
                <a:gd name="T85" fmla="*/ 1480 h 4407"/>
                <a:gd name="T86" fmla="*/ 211 w 687"/>
                <a:gd name="T87" fmla="*/ 1638 h 4407"/>
                <a:gd name="T88" fmla="*/ 211 w 687"/>
                <a:gd name="T89" fmla="*/ 1934 h 4407"/>
                <a:gd name="T90" fmla="*/ 285 w 687"/>
                <a:gd name="T91" fmla="*/ 2251 h 4407"/>
                <a:gd name="T92" fmla="*/ 285 w 687"/>
                <a:gd name="T93" fmla="*/ 2515 h 4407"/>
                <a:gd name="T94" fmla="*/ 211 w 687"/>
                <a:gd name="T95" fmla="*/ 2759 h 4407"/>
                <a:gd name="T96" fmla="*/ 211 w 687"/>
                <a:gd name="T97" fmla="*/ 2991 h 4407"/>
                <a:gd name="T98" fmla="*/ 190 w 687"/>
                <a:gd name="T99" fmla="*/ 3667 h 4407"/>
                <a:gd name="T100" fmla="*/ 190 w 687"/>
                <a:gd name="T101" fmla="*/ 497 h 4407"/>
                <a:gd name="T102" fmla="*/ 190 w 687"/>
                <a:gd name="T103" fmla="*/ 687 h 4407"/>
                <a:gd name="T104" fmla="*/ 116 w 687"/>
                <a:gd name="T105" fmla="*/ 930 h 4407"/>
                <a:gd name="T106" fmla="*/ 116 w 687"/>
                <a:gd name="T107" fmla="*/ 1163 h 4407"/>
                <a:gd name="T108" fmla="*/ 116 w 687"/>
                <a:gd name="T109" fmla="*/ 1448 h 4407"/>
                <a:gd name="T110" fmla="*/ 190 w 687"/>
                <a:gd name="T111" fmla="*/ 1776 h 4407"/>
                <a:gd name="T112" fmla="*/ 190 w 687"/>
                <a:gd name="T113" fmla="*/ 1966 h 4407"/>
                <a:gd name="T114" fmla="*/ 116 w 687"/>
                <a:gd name="T115" fmla="*/ 2198 h 4407"/>
                <a:gd name="T116" fmla="*/ 116 w 687"/>
                <a:gd name="T117" fmla="*/ 2357 h 4407"/>
                <a:gd name="T118" fmla="*/ 116 w 687"/>
                <a:gd name="T119" fmla="*/ 2642 h 4407"/>
                <a:gd name="T120" fmla="*/ 190 w 687"/>
                <a:gd name="T121" fmla="*/ 2885 h 4407"/>
                <a:gd name="T122" fmla="*/ 190 w 687"/>
                <a:gd name="T123" fmla="*/ 3160 h 4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7" h="4407">
                  <a:moveTo>
                    <a:pt x="0" y="4407"/>
                  </a:moveTo>
                  <a:lnTo>
                    <a:pt x="190" y="4407"/>
                  </a:lnTo>
                  <a:lnTo>
                    <a:pt x="190" y="4365"/>
                  </a:lnTo>
                  <a:lnTo>
                    <a:pt x="254" y="4365"/>
                  </a:lnTo>
                  <a:lnTo>
                    <a:pt x="254" y="4407"/>
                  </a:lnTo>
                  <a:lnTo>
                    <a:pt x="317" y="4407"/>
                  </a:lnTo>
                  <a:lnTo>
                    <a:pt x="317" y="4365"/>
                  </a:lnTo>
                  <a:lnTo>
                    <a:pt x="370" y="4365"/>
                  </a:lnTo>
                  <a:lnTo>
                    <a:pt x="370" y="4407"/>
                  </a:lnTo>
                  <a:lnTo>
                    <a:pt x="560" y="4407"/>
                  </a:lnTo>
                  <a:lnTo>
                    <a:pt x="560" y="4365"/>
                  </a:lnTo>
                  <a:lnTo>
                    <a:pt x="624" y="4365"/>
                  </a:lnTo>
                  <a:lnTo>
                    <a:pt x="624" y="4407"/>
                  </a:lnTo>
                  <a:lnTo>
                    <a:pt x="687" y="4407"/>
                  </a:lnTo>
                  <a:lnTo>
                    <a:pt x="687" y="3213"/>
                  </a:lnTo>
                  <a:lnTo>
                    <a:pt x="687" y="3213"/>
                  </a:lnTo>
                  <a:lnTo>
                    <a:pt x="687" y="0"/>
                  </a:lnTo>
                  <a:lnTo>
                    <a:pt x="0" y="233"/>
                  </a:lnTo>
                  <a:lnTo>
                    <a:pt x="0" y="3213"/>
                  </a:lnTo>
                  <a:lnTo>
                    <a:pt x="0" y="3213"/>
                  </a:lnTo>
                  <a:lnTo>
                    <a:pt x="0" y="4407"/>
                  </a:lnTo>
                  <a:close/>
                  <a:moveTo>
                    <a:pt x="370" y="3995"/>
                  </a:moveTo>
                  <a:lnTo>
                    <a:pt x="317" y="3995"/>
                  </a:lnTo>
                  <a:lnTo>
                    <a:pt x="317" y="3731"/>
                  </a:lnTo>
                  <a:lnTo>
                    <a:pt x="370" y="3731"/>
                  </a:lnTo>
                  <a:lnTo>
                    <a:pt x="370" y="3995"/>
                  </a:lnTo>
                  <a:close/>
                  <a:moveTo>
                    <a:pt x="497" y="4302"/>
                  </a:moveTo>
                  <a:lnTo>
                    <a:pt x="433" y="4302"/>
                  </a:lnTo>
                  <a:lnTo>
                    <a:pt x="433" y="4037"/>
                  </a:lnTo>
                  <a:lnTo>
                    <a:pt x="497" y="4037"/>
                  </a:lnTo>
                  <a:lnTo>
                    <a:pt x="497" y="4302"/>
                  </a:lnTo>
                  <a:close/>
                  <a:moveTo>
                    <a:pt x="624" y="4302"/>
                  </a:moveTo>
                  <a:lnTo>
                    <a:pt x="560" y="4302"/>
                  </a:lnTo>
                  <a:lnTo>
                    <a:pt x="560" y="4037"/>
                  </a:lnTo>
                  <a:lnTo>
                    <a:pt x="624" y="4037"/>
                  </a:lnTo>
                  <a:lnTo>
                    <a:pt x="624" y="4302"/>
                  </a:lnTo>
                  <a:close/>
                  <a:moveTo>
                    <a:pt x="624" y="3995"/>
                  </a:moveTo>
                  <a:lnTo>
                    <a:pt x="560" y="3995"/>
                  </a:lnTo>
                  <a:lnTo>
                    <a:pt x="560" y="3731"/>
                  </a:lnTo>
                  <a:lnTo>
                    <a:pt x="624" y="3731"/>
                  </a:lnTo>
                  <a:lnTo>
                    <a:pt x="624" y="3995"/>
                  </a:lnTo>
                  <a:close/>
                  <a:moveTo>
                    <a:pt x="624" y="3667"/>
                  </a:moveTo>
                  <a:lnTo>
                    <a:pt x="560" y="3667"/>
                  </a:lnTo>
                  <a:lnTo>
                    <a:pt x="560" y="3403"/>
                  </a:lnTo>
                  <a:lnTo>
                    <a:pt x="624" y="3403"/>
                  </a:lnTo>
                  <a:lnTo>
                    <a:pt x="624" y="3667"/>
                  </a:lnTo>
                  <a:close/>
                  <a:moveTo>
                    <a:pt x="507" y="370"/>
                  </a:moveTo>
                  <a:lnTo>
                    <a:pt x="581" y="370"/>
                  </a:lnTo>
                  <a:lnTo>
                    <a:pt x="581" y="412"/>
                  </a:lnTo>
                  <a:lnTo>
                    <a:pt x="507" y="412"/>
                  </a:lnTo>
                  <a:lnTo>
                    <a:pt x="507" y="370"/>
                  </a:lnTo>
                  <a:close/>
                  <a:moveTo>
                    <a:pt x="507" y="444"/>
                  </a:moveTo>
                  <a:lnTo>
                    <a:pt x="581" y="444"/>
                  </a:lnTo>
                  <a:lnTo>
                    <a:pt x="581" y="497"/>
                  </a:lnTo>
                  <a:lnTo>
                    <a:pt x="507" y="497"/>
                  </a:lnTo>
                  <a:lnTo>
                    <a:pt x="507" y="444"/>
                  </a:lnTo>
                  <a:close/>
                  <a:moveTo>
                    <a:pt x="507" y="529"/>
                  </a:moveTo>
                  <a:lnTo>
                    <a:pt x="581" y="529"/>
                  </a:lnTo>
                  <a:lnTo>
                    <a:pt x="581" y="571"/>
                  </a:lnTo>
                  <a:lnTo>
                    <a:pt x="507" y="571"/>
                  </a:lnTo>
                  <a:lnTo>
                    <a:pt x="507" y="529"/>
                  </a:lnTo>
                  <a:close/>
                  <a:moveTo>
                    <a:pt x="507" y="602"/>
                  </a:moveTo>
                  <a:lnTo>
                    <a:pt x="581" y="602"/>
                  </a:lnTo>
                  <a:lnTo>
                    <a:pt x="581" y="655"/>
                  </a:lnTo>
                  <a:lnTo>
                    <a:pt x="507" y="655"/>
                  </a:lnTo>
                  <a:lnTo>
                    <a:pt x="507" y="602"/>
                  </a:lnTo>
                  <a:close/>
                  <a:moveTo>
                    <a:pt x="507" y="687"/>
                  </a:moveTo>
                  <a:lnTo>
                    <a:pt x="581" y="687"/>
                  </a:lnTo>
                  <a:lnTo>
                    <a:pt x="581" y="740"/>
                  </a:lnTo>
                  <a:lnTo>
                    <a:pt x="507" y="740"/>
                  </a:lnTo>
                  <a:lnTo>
                    <a:pt x="507" y="687"/>
                  </a:lnTo>
                  <a:close/>
                  <a:moveTo>
                    <a:pt x="507" y="761"/>
                  </a:moveTo>
                  <a:lnTo>
                    <a:pt x="581" y="761"/>
                  </a:lnTo>
                  <a:lnTo>
                    <a:pt x="581" y="814"/>
                  </a:lnTo>
                  <a:lnTo>
                    <a:pt x="507" y="814"/>
                  </a:lnTo>
                  <a:lnTo>
                    <a:pt x="507" y="761"/>
                  </a:lnTo>
                  <a:close/>
                  <a:moveTo>
                    <a:pt x="507" y="846"/>
                  </a:moveTo>
                  <a:lnTo>
                    <a:pt x="581" y="846"/>
                  </a:lnTo>
                  <a:lnTo>
                    <a:pt x="581" y="898"/>
                  </a:lnTo>
                  <a:lnTo>
                    <a:pt x="507" y="898"/>
                  </a:lnTo>
                  <a:lnTo>
                    <a:pt x="507" y="846"/>
                  </a:lnTo>
                  <a:close/>
                  <a:moveTo>
                    <a:pt x="507" y="930"/>
                  </a:moveTo>
                  <a:lnTo>
                    <a:pt x="581" y="930"/>
                  </a:lnTo>
                  <a:lnTo>
                    <a:pt x="581" y="972"/>
                  </a:lnTo>
                  <a:lnTo>
                    <a:pt x="507" y="972"/>
                  </a:lnTo>
                  <a:lnTo>
                    <a:pt x="507" y="930"/>
                  </a:lnTo>
                  <a:close/>
                  <a:moveTo>
                    <a:pt x="507" y="1004"/>
                  </a:moveTo>
                  <a:lnTo>
                    <a:pt x="581" y="1004"/>
                  </a:lnTo>
                  <a:lnTo>
                    <a:pt x="581" y="1057"/>
                  </a:lnTo>
                  <a:lnTo>
                    <a:pt x="507" y="1057"/>
                  </a:lnTo>
                  <a:lnTo>
                    <a:pt x="507" y="1004"/>
                  </a:lnTo>
                  <a:close/>
                  <a:moveTo>
                    <a:pt x="507" y="1163"/>
                  </a:moveTo>
                  <a:lnTo>
                    <a:pt x="581" y="1163"/>
                  </a:lnTo>
                  <a:lnTo>
                    <a:pt x="581" y="1215"/>
                  </a:lnTo>
                  <a:lnTo>
                    <a:pt x="507" y="1215"/>
                  </a:lnTo>
                  <a:lnTo>
                    <a:pt x="507" y="1163"/>
                  </a:lnTo>
                  <a:close/>
                  <a:moveTo>
                    <a:pt x="507" y="1247"/>
                  </a:moveTo>
                  <a:lnTo>
                    <a:pt x="581" y="1247"/>
                  </a:lnTo>
                  <a:lnTo>
                    <a:pt x="581" y="1289"/>
                  </a:lnTo>
                  <a:lnTo>
                    <a:pt x="507" y="1289"/>
                  </a:lnTo>
                  <a:lnTo>
                    <a:pt x="507" y="1247"/>
                  </a:lnTo>
                  <a:close/>
                  <a:moveTo>
                    <a:pt x="507" y="1321"/>
                  </a:moveTo>
                  <a:lnTo>
                    <a:pt x="581" y="1321"/>
                  </a:lnTo>
                  <a:lnTo>
                    <a:pt x="581" y="1374"/>
                  </a:lnTo>
                  <a:lnTo>
                    <a:pt x="507" y="1374"/>
                  </a:lnTo>
                  <a:lnTo>
                    <a:pt x="507" y="1321"/>
                  </a:lnTo>
                  <a:close/>
                  <a:moveTo>
                    <a:pt x="507" y="1406"/>
                  </a:moveTo>
                  <a:lnTo>
                    <a:pt x="581" y="1406"/>
                  </a:lnTo>
                  <a:lnTo>
                    <a:pt x="581" y="1448"/>
                  </a:lnTo>
                  <a:lnTo>
                    <a:pt x="507" y="1448"/>
                  </a:lnTo>
                  <a:lnTo>
                    <a:pt x="507" y="1406"/>
                  </a:lnTo>
                  <a:close/>
                  <a:moveTo>
                    <a:pt x="507" y="1480"/>
                  </a:moveTo>
                  <a:lnTo>
                    <a:pt x="581" y="1480"/>
                  </a:lnTo>
                  <a:lnTo>
                    <a:pt x="581" y="1533"/>
                  </a:lnTo>
                  <a:lnTo>
                    <a:pt x="507" y="1533"/>
                  </a:lnTo>
                  <a:lnTo>
                    <a:pt x="507" y="1480"/>
                  </a:lnTo>
                  <a:close/>
                  <a:moveTo>
                    <a:pt x="507" y="1564"/>
                  </a:moveTo>
                  <a:lnTo>
                    <a:pt x="581" y="1564"/>
                  </a:lnTo>
                  <a:lnTo>
                    <a:pt x="581" y="1607"/>
                  </a:lnTo>
                  <a:lnTo>
                    <a:pt x="507" y="1607"/>
                  </a:lnTo>
                  <a:lnTo>
                    <a:pt x="507" y="1564"/>
                  </a:lnTo>
                  <a:close/>
                  <a:moveTo>
                    <a:pt x="507" y="1638"/>
                  </a:moveTo>
                  <a:lnTo>
                    <a:pt x="581" y="1638"/>
                  </a:lnTo>
                  <a:lnTo>
                    <a:pt x="581" y="1691"/>
                  </a:lnTo>
                  <a:lnTo>
                    <a:pt x="507" y="1691"/>
                  </a:lnTo>
                  <a:lnTo>
                    <a:pt x="507" y="1638"/>
                  </a:lnTo>
                  <a:close/>
                  <a:moveTo>
                    <a:pt x="507" y="1723"/>
                  </a:moveTo>
                  <a:lnTo>
                    <a:pt x="581" y="1723"/>
                  </a:lnTo>
                  <a:lnTo>
                    <a:pt x="581" y="1776"/>
                  </a:lnTo>
                  <a:lnTo>
                    <a:pt x="507" y="1776"/>
                  </a:lnTo>
                  <a:lnTo>
                    <a:pt x="507" y="1723"/>
                  </a:lnTo>
                  <a:close/>
                  <a:moveTo>
                    <a:pt x="507" y="1797"/>
                  </a:moveTo>
                  <a:lnTo>
                    <a:pt x="581" y="1797"/>
                  </a:lnTo>
                  <a:lnTo>
                    <a:pt x="581" y="1850"/>
                  </a:lnTo>
                  <a:lnTo>
                    <a:pt x="507" y="1850"/>
                  </a:lnTo>
                  <a:lnTo>
                    <a:pt x="507" y="1797"/>
                  </a:lnTo>
                  <a:close/>
                  <a:moveTo>
                    <a:pt x="507" y="1881"/>
                  </a:moveTo>
                  <a:lnTo>
                    <a:pt x="581" y="1881"/>
                  </a:lnTo>
                  <a:lnTo>
                    <a:pt x="581" y="1934"/>
                  </a:lnTo>
                  <a:lnTo>
                    <a:pt x="507" y="1934"/>
                  </a:lnTo>
                  <a:lnTo>
                    <a:pt x="507" y="1881"/>
                  </a:lnTo>
                  <a:close/>
                  <a:moveTo>
                    <a:pt x="507" y="1966"/>
                  </a:moveTo>
                  <a:lnTo>
                    <a:pt x="581" y="1966"/>
                  </a:lnTo>
                  <a:lnTo>
                    <a:pt x="581" y="2008"/>
                  </a:lnTo>
                  <a:lnTo>
                    <a:pt x="507" y="2008"/>
                  </a:lnTo>
                  <a:lnTo>
                    <a:pt x="507" y="1966"/>
                  </a:lnTo>
                  <a:close/>
                  <a:moveTo>
                    <a:pt x="507" y="2040"/>
                  </a:moveTo>
                  <a:lnTo>
                    <a:pt x="581" y="2040"/>
                  </a:lnTo>
                  <a:lnTo>
                    <a:pt x="581" y="2093"/>
                  </a:lnTo>
                  <a:lnTo>
                    <a:pt x="507" y="2093"/>
                  </a:lnTo>
                  <a:lnTo>
                    <a:pt x="507" y="2040"/>
                  </a:lnTo>
                  <a:close/>
                  <a:moveTo>
                    <a:pt x="507" y="2198"/>
                  </a:moveTo>
                  <a:lnTo>
                    <a:pt x="581" y="2198"/>
                  </a:lnTo>
                  <a:lnTo>
                    <a:pt x="581" y="2251"/>
                  </a:lnTo>
                  <a:lnTo>
                    <a:pt x="507" y="2251"/>
                  </a:lnTo>
                  <a:lnTo>
                    <a:pt x="507" y="2198"/>
                  </a:lnTo>
                  <a:close/>
                  <a:moveTo>
                    <a:pt x="507" y="2283"/>
                  </a:moveTo>
                  <a:lnTo>
                    <a:pt x="581" y="2283"/>
                  </a:lnTo>
                  <a:lnTo>
                    <a:pt x="581" y="2325"/>
                  </a:lnTo>
                  <a:lnTo>
                    <a:pt x="507" y="2325"/>
                  </a:lnTo>
                  <a:lnTo>
                    <a:pt x="507" y="2283"/>
                  </a:lnTo>
                  <a:close/>
                  <a:moveTo>
                    <a:pt x="507" y="2441"/>
                  </a:moveTo>
                  <a:lnTo>
                    <a:pt x="581" y="2441"/>
                  </a:lnTo>
                  <a:lnTo>
                    <a:pt x="581" y="2484"/>
                  </a:lnTo>
                  <a:lnTo>
                    <a:pt x="507" y="2484"/>
                  </a:lnTo>
                  <a:lnTo>
                    <a:pt x="507" y="2441"/>
                  </a:lnTo>
                  <a:close/>
                  <a:moveTo>
                    <a:pt x="507" y="2515"/>
                  </a:moveTo>
                  <a:lnTo>
                    <a:pt x="581" y="2515"/>
                  </a:lnTo>
                  <a:lnTo>
                    <a:pt x="581" y="2568"/>
                  </a:lnTo>
                  <a:lnTo>
                    <a:pt x="507" y="2568"/>
                  </a:lnTo>
                  <a:lnTo>
                    <a:pt x="507" y="2515"/>
                  </a:lnTo>
                  <a:close/>
                  <a:moveTo>
                    <a:pt x="507" y="2600"/>
                  </a:moveTo>
                  <a:lnTo>
                    <a:pt x="581" y="2600"/>
                  </a:lnTo>
                  <a:lnTo>
                    <a:pt x="581" y="2642"/>
                  </a:lnTo>
                  <a:lnTo>
                    <a:pt x="507" y="2642"/>
                  </a:lnTo>
                  <a:lnTo>
                    <a:pt x="507" y="2600"/>
                  </a:lnTo>
                  <a:close/>
                  <a:moveTo>
                    <a:pt x="507" y="2674"/>
                  </a:moveTo>
                  <a:lnTo>
                    <a:pt x="581" y="2674"/>
                  </a:lnTo>
                  <a:lnTo>
                    <a:pt x="581" y="2727"/>
                  </a:lnTo>
                  <a:lnTo>
                    <a:pt x="507" y="2727"/>
                  </a:lnTo>
                  <a:lnTo>
                    <a:pt x="507" y="2674"/>
                  </a:lnTo>
                  <a:close/>
                  <a:moveTo>
                    <a:pt x="507" y="2759"/>
                  </a:moveTo>
                  <a:lnTo>
                    <a:pt x="581" y="2759"/>
                  </a:lnTo>
                  <a:lnTo>
                    <a:pt x="581" y="2801"/>
                  </a:lnTo>
                  <a:lnTo>
                    <a:pt x="507" y="2801"/>
                  </a:lnTo>
                  <a:lnTo>
                    <a:pt x="507" y="2759"/>
                  </a:lnTo>
                  <a:close/>
                  <a:moveTo>
                    <a:pt x="507" y="2833"/>
                  </a:moveTo>
                  <a:lnTo>
                    <a:pt x="581" y="2833"/>
                  </a:lnTo>
                  <a:lnTo>
                    <a:pt x="581" y="2885"/>
                  </a:lnTo>
                  <a:lnTo>
                    <a:pt x="507" y="2885"/>
                  </a:lnTo>
                  <a:lnTo>
                    <a:pt x="507" y="2833"/>
                  </a:lnTo>
                  <a:close/>
                  <a:moveTo>
                    <a:pt x="507" y="2917"/>
                  </a:moveTo>
                  <a:lnTo>
                    <a:pt x="581" y="2917"/>
                  </a:lnTo>
                  <a:lnTo>
                    <a:pt x="581" y="2970"/>
                  </a:lnTo>
                  <a:lnTo>
                    <a:pt x="507" y="2970"/>
                  </a:lnTo>
                  <a:lnTo>
                    <a:pt x="507" y="2917"/>
                  </a:lnTo>
                  <a:close/>
                  <a:moveTo>
                    <a:pt x="507" y="2991"/>
                  </a:moveTo>
                  <a:lnTo>
                    <a:pt x="581" y="2991"/>
                  </a:lnTo>
                  <a:lnTo>
                    <a:pt x="581" y="3044"/>
                  </a:lnTo>
                  <a:lnTo>
                    <a:pt x="507" y="3044"/>
                  </a:lnTo>
                  <a:lnTo>
                    <a:pt x="507" y="2991"/>
                  </a:lnTo>
                  <a:close/>
                  <a:moveTo>
                    <a:pt x="507" y="3076"/>
                  </a:moveTo>
                  <a:lnTo>
                    <a:pt x="581" y="3076"/>
                  </a:lnTo>
                  <a:lnTo>
                    <a:pt x="581" y="3128"/>
                  </a:lnTo>
                  <a:lnTo>
                    <a:pt x="507" y="3128"/>
                  </a:lnTo>
                  <a:lnTo>
                    <a:pt x="507" y="3076"/>
                  </a:lnTo>
                  <a:close/>
                  <a:moveTo>
                    <a:pt x="507" y="3160"/>
                  </a:moveTo>
                  <a:lnTo>
                    <a:pt x="581" y="3160"/>
                  </a:lnTo>
                  <a:lnTo>
                    <a:pt x="581" y="3202"/>
                  </a:lnTo>
                  <a:lnTo>
                    <a:pt x="507" y="3202"/>
                  </a:lnTo>
                  <a:lnTo>
                    <a:pt x="507" y="3160"/>
                  </a:lnTo>
                  <a:close/>
                  <a:moveTo>
                    <a:pt x="497" y="3667"/>
                  </a:moveTo>
                  <a:lnTo>
                    <a:pt x="433" y="3667"/>
                  </a:lnTo>
                  <a:lnTo>
                    <a:pt x="433" y="3403"/>
                  </a:lnTo>
                  <a:lnTo>
                    <a:pt x="497" y="3403"/>
                  </a:lnTo>
                  <a:lnTo>
                    <a:pt x="497" y="3667"/>
                  </a:lnTo>
                  <a:close/>
                  <a:moveTo>
                    <a:pt x="402" y="370"/>
                  </a:moveTo>
                  <a:lnTo>
                    <a:pt x="486" y="370"/>
                  </a:lnTo>
                  <a:lnTo>
                    <a:pt x="486" y="412"/>
                  </a:lnTo>
                  <a:lnTo>
                    <a:pt x="402" y="412"/>
                  </a:lnTo>
                  <a:lnTo>
                    <a:pt x="402" y="370"/>
                  </a:lnTo>
                  <a:close/>
                  <a:moveTo>
                    <a:pt x="402" y="444"/>
                  </a:moveTo>
                  <a:lnTo>
                    <a:pt x="486" y="444"/>
                  </a:lnTo>
                  <a:lnTo>
                    <a:pt x="486" y="497"/>
                  </a:lnTo>
                  <a:lnTo>
                    <a:pt x="402" y="497"/>
                  </a:lnTo>
                  <a:lnTo>
                    <a:pt x="402" y="444"/>
                  </a:lnTo>
                  <a:close/>
                  <a:moveTo>
                    <a:pt x="402" y="529"/>
                  </a:moveTo>
                  <a:lnTo>
                    <a:pt x="486" y="529"/>
                  </a:lnTo>
                  <a:lnTo>
                    <a:pt x="486" y="571"/>
                  </a:lnTo>
                  <a:lnTo>
                    <a:pt x="402" y="571"/>
                  </a:lnTo>
                  <a:lnTo>
                    <a:pt x="402" y="529"/>
                  </a:lnTo>
                  <a:close/>
                  <a:moveTo>
                    <a:pt x="402" y="602"/>
                  </a:moveTo>
                  <a:lnTo>
                    <a:pt x="486" y="602"/>
                  </a:lnTo>
                  <a:lnTo>
                    <a:pt x="486" y="655"/>
                  </a:lnTo>
                  <a:lnTo>
                    <a:pt x="402" y="655"/>
                  </a:lnTo>
                  <a:lnTo>
                    <a:pt x="402" y="602"/>
                  </a:lnTo>
                  <a:close/>
                  <a:moveTo>
                    <a:pt x="402" y="687"/>
                  </a:moveTo>
                  <a:lnTo>
                    <a:pt x="486" y="687"/>
                  </a:lnTo>
                  <a:lnTo>
                    <a:pt x="486" y="740"/>
                  </a:lnTo>
                  <a:lnTo>
                    <a:pt x="402" y="740"/>
                  </a:lnTo>
                  <a:lnTo>
                    <a:pt x="402" y="687"/>
                  </a:lnTo>
                  <a:close/>
                  <a:moveTo>
                    <a:pt x="402" y="761"/>
                  </a:moveTo>
                  <a:lnTo>
                    <a:pt x="486" y="761"/>
                  </a:lnTo>
                  <a:lnTo>
                    <a:pt x="486" y="814"/>
                  </a:lnTo>
                  <a:lnTo>
                    <a:pt x="402" y="814"/>
                  </a:lnTo>
                  <a:lnTo>
                    <a:pt x="402" y="761"/>
                  </a:lnTo>
                  <a:close/>
                  <a:moveTo>
                    <a:pt x="402" y="846"/>
                  </a:moveTo>
                  <a:lnTo>
                    <a:pt x="486" y="846"/>
                  </a:lnTo>
                  <a:lnTo>
                    <a:pt x="486" y="898"/>
                  </a:lnTo>
                  <a:lnTo>
                    <a:pt x="402" y="898"/>
                  </a:lnTo>
                  <a:lnTo>
                    <a:pt x="402" y="846"/>
                  </a:lnTo>
                  <a:close/>
                  <a:moveTo>
                    <a:pt x="402" y="930"/>
                  </a:moveTo>
                  <a:lnTo>
                    <a:pt x="486" y="930"/>
                  </a:lnTo>
                  <a:lnTo>
                    <a:pt x="486" y="972"/>
                  </a:lnTo>
                  <a:lnTo>
                    <a:pt x="402" y="972"/>
                  </a:lnTo>
                  <a:lnTo>
                    <a:pt x="402" y="930"/>
                  </a:lnTo>
                  <a:close/>
                  <a:moveTo>
                    <a:pt x="402" y="1004"/>
                  </a:moveTo>
                  <a:lnTo>
                    <a:pt x="486" y="1004"/>
                  </a:lnTo>
                  <a:lnTo>
                    <a:pt x="486" y="1057"/>
                  </a:lnTo>
                  <a:lnTo>
                    <a:pt x="402" y="1057"/>
                  </a:lnTo>
                  <a:lnTo>
                    <a:pt x="402" y="1004"/>
                  </a:lnTo>
                  <a:close/>
                  <a:moveTo>
                    <a:pt x="402" y="1089"/>
                  </a:moveTo>
                  <a:lnTo>
                    <a:pt x="486" y="1089"/>
                  </a:lnTo>
                  <a:lnTo>
                    <a:pt x="486" y="1131"/>
                  </a:lnTo>
                  <a:lnTo>
                    <a:pt x="402" y="1131"/>
                  </a:lnTo>
                  <a:lnTo>
                    <a:pt x="402" y="1089"/>
                  </a:lnTo>
                  <a:close/>
                  <a:moveTo>
                    <a:pt x="402" y="1163"/>
                  </a:moveTo>
                  <a:lnTo>
                    <a:pt x="486" y="1163"/>
                  </a:lnTo>
                  <a:lnTo>
                    <a:pt x="486" y="1215"/>
                  </a:lnTo>
                  <a:lnTo>
                    <a:pt x="402" y="1215"/>
                  </a:lnTo>
                  <a:lnTo>
                    <a:pt x="402" y="1163"/>
                  </a:lnTo>
                  <a:close/>
                  <a:moveTo>
                    <a:pt x="402" y="1321"/>
                  </a:moveTo>
                  <a:lnTo>
                    <a:pt x="486" y="1321"/>
                  </a:lnTo>
                  <a:lnTo>
                    <a:pt x="486" y="1374"/>
                  </a:lnTo>
                  <a:lnTo>
                    <a:pt x="402" y="1374"/>
                  </a:lnTo>
                  <a:lnTo>
                    <a:pt x="402" y="1321"/>
                  </a:lnTo>
                  <a:close/>
                  <a:moveTo>
                    <a:pt x="402" y="1480"/>
                  </a:moveTo>
                  <a:lnTo>
                    <a:pt x="486" y="1480"/>
                  </a:lnTo>
                  <a:lnTo>
                    <a:pt x="486" y="1533"/>
                  </a:lnTo>
                  <a:lnTo>
                    <a:pt x="402" y="1533"/>
                  </a:lnTo>
                  <a:lnTo>
                    <a:pt x="402" y="1480"/>
                  </a:lnTo>
                  <a:close/>
                  <a:moveTo>
                    <a:pt x="402" y="1564"/>
                  </a:moveTo>
                  <a:lnTo>
                    <a:pt x="486" y="1564"/>
                  </a:lnTo>
                  <a:lnTo>
                    <a:pt x="486" y="1607"/>
                  </a:lnTo>
                  <a:lnTo>
                    <a:pt x="402" y="1607"/>
                  </a:lnTo>
                  <a:lnTo>
                    <a:pt x="402" y="1564"/>
                  </a:lnTo>
                  <a:close/>
                  <a:moveTo>
                    <a:pt x="402" y="1723"/>
                  </a:moveTo>
                  <a:lnTo>
                    <a:pt x="486" y="1723"/>
                  </a:lnTo>
                  <a:lnTo>
                    <a:pt x="486" y="1776"/>
                  </a:lnTo>
                  <a:lnTo>
                    <a:pt x="402" y="1776"/>
                  </a:lnTo>
                  <a:lnTo>
                    <a:pt x="402" y="1723"/>
                  </a:lnTo>
                  <a:close/>
                  <a:moveTo>
                    <a:pt x="402" y="1797"/>
                  </a:moveTo>
                  <a:lnTo>
                    <a:pt x="486" y="1797"/>
                  </a:lnTo>
                  <a:lnTo>
                    <a:pt x="486" y="1850"/>
                  </a:lnTo>
                  <a:lnTo>
                    <a:pt x="402" y="1850"/>
                  </a:lnTo>
                  <a:lnTo>
                    <a:pt x="402" y="1797"/>
                  </a:lnTo>
                  <a:close/>
                  <a:moveTo>
                    <a:pt x="402" y="1881"/>
                  </a:moveTo>
                  <a:lnTo>
                    <a:pt x="486" y="1881"/>
                  </a:lnTo>
                  <a:lnTo>
                    <a:pt x="486" y="1934"/>
                  </a:lnTo>
                  <a:lnTo>
                    <a:pt x="402" y="1934"/>
                  </a:lnTo>
                  <a:lnTo>
                    <a:pt x="402" y="1881"/>
                  </a:lnTo>
                  <a:close/>
                  <a:moveTo>
                    <a:pt x="402" y="2040"/>
                  </a:moveTo>
                  <a:lnTo>
                    <a:pt x="486" y="2040"/>
                  </a:lnTo>
                  <a:lnTo>
                    <a:pt x="486" y="2093"/>
                  </a:lnTo>
                  <a:lnTo>
                    <a:pt x="402" y="2093"/>
                  </a:lnTo>
                  <a:lnTo>
                    <a:pt x="402" y="2040"/>
                  </a:lnTo>
                  <a:close/>
                  <a:moveTo>
                    <a:pt x="402" y="2124"/>
                  </a:moveTo>
                  <a:lnTo>
                    <a:pt x="486" y="2124"/>
                  </a:lnTo>
                  <a:lnTo>
                    <a:pt x="486" y="2167"/>
                  </a:lnTo>
                  <a:lnTo>
                    <a:pt x="402" y="2167"/>
                  </a:lnTo>
                  <a:lnTo>
                    <a:pt x="402" y="2124"/>
                  </a:lnTo>
                  <a:close/>
                  <a:moveTo>
                    <a:pt x="402" y="2283"/>
                  </a:moveTo>
                  <a:lnTo>
                    <a:pt x="486" y="2283"/>
                  </a:lnTo>
                  <a:lnTo>
                    <a:pt x="486" y="2325"/>
                  </a:lnTo>
                  <a:lnTo>
                    <a:pt x="402" y="2325"/>
                  </a:lnTo>
                  <a:lnTo>
                    <a:pt x="402" y="2283"/>
                  </a:lnTo>
                  <a:close/>
                  <a:moveTo>
                    <a:pt x="402" y="2357"/>
                  </a:moveTo>
                  <a:lnTo>
                    <a:pt x="486" y="2357"/>
                  </a:lnTo>
                  <a:lnTo>
                    <a:pt x="486" y="2410"/>
                  </a:lnTo>
                  <a:lnTo>
                    <a:pt x="402" y="2410"/>
                  </a:lnTo>
                  <a:lnTo>
                    <a:pt x="402" y="2357"/>
                  </a:lnTo>
                  <a:close/>
                  <a:moveTo>
                    <a:pt x="402" y="2441"/>
                  </a:moveTo>
                  <a:lnTo>
                    <a:pt x="486" y="2441"/>
                  </a:lnTo>
                  <a:lnTo>
                    <a:pt x="486" y="2484"/>
                  </a:lnTo>
                  <a:lnTo>
                    <a:pt x="402" y="2484"/>
                  </a:lnTo>
                  <a:lnTo>
                    <a:pt x="402" y="2441"/>
                  </a:lnTo>
                  <a:close/>
                  <a:moveTo>
                    <a:pt x="402" y="2600"/>
                  </a:moveTo>
                  <a:lnTo>
                    <a:pt x="486" y="2600"/>
                  </a:lnTo>
                  <a:lnTo>
                    <a:pt x="486" y="2642"/>
                  </a:lnTo>
                  <a:lnTo>
                    <a:pt x="402" y="2642"/>
                  </a:lnTo>
                  <a:lnTo>
                    <a:pt x="402" y="2600"/>
                  </a:lnTo>
                  <a:close/>
                  <a:moveTo>
                    <a:pt x="402" y="2674"/>
                  </a:moveTo>
                  <a:lnTo>
                    <a:pt x="486" y="2674"/>
                  </a:lnTo>
                  <a:lnTo>
                    <a:pt x="486" y="2727"/>
                  </a:lnTo>
                  <a:lnTo>
                    <a:pt x="402" y="2727"/>
                  </a:lnTo>
                  <a:lnTo>
                    <a:pt x="402" y="2674"/>
                  </a:lnTo>
                  <a:close/>
                  <a:moveTo>
                    <a:pt x="402" y="2759"/>
                  </a:moveTo>
                  <a:lnTo>
                    <a:pt x="486" y="2759"/>
                  </a:lnTo>
                  <a:lnTo>
                    <a:pt x="486" y="2801"/>
                  </a:lnTo>
                  <a:lnTo>
                    <a:pt x="402" y="2801"/>
                  </a:lnTo>
                  <a:lnTo>
                    <a:pt x="402" y="2759"/>
                  </a:lnTo>
                  <a:close/>
                  <a:moveTo>
                    <a:pt x="402" y="2833"/>
                  </a:moveTo>
                  <a:lnTo>
                    <a:pt x="486" y="2833"/>
                  </a:lnTo>
                  <a:lnTo>
                    <a:pt x="486" y="2885"/>
                  </a:lnTo>
                  <a:lnTo>
                    <a:pt x="402" y="2885"/>
                  </a:lnTo>
                  <a:lnTo>
                    <a:pt x="402" y="2833"/>
                  </a:lnTo>
                  <a:close/>
                  <a:moveTo>
                    <a:pt x="402" y="2991"/>
                  </a:moveTo>
                  <a:lnTo>
                    <a:pt x="486" y="2991"/>
                  </a:lnTo>
                  <a:lnTo>
                    <a:pt x="486" y="3044"/>
                  </a:lnTo>
                  <a:lnTo>
                    <a:pt x="402" y="3044"/>
                  </a:lnTo>
                  <a:lnTo>
                    <a:pt x="402" y="2991"/>
                  </a:lnTo>
                  <a:close/>
                  <a:moveTo>
                    <a:pt x="402" y="3076"/>
                  </a:moveTo>
                  <a:lnTo>
                    <a:pt x="486" y="3076"/>
                  </a:lnTo>
                  <a:lnTo>
                    <a:pt x="486" y="3128"/>
                  </a:lnTo>
                  <a:lnTo>
                    <a:pt x="402" y="3128"/>
                  </a:lnTo>
                  <a:lnTo>
                    <a:pt x="402" y="3076"/>
                  </a:lnTo>
                  <a:close/>
                  <a:moveTo>
                    <a:pt x="402" y="3160"/>
                  </a:moveTo>
                  <a:lnTo>
                    <a:pt x="486" y="3160"/>
                  </a:lnTo>
                  <a:lnTo>
                    <a:pt x="486" y="3202"/>
                  </a:lnTo>
                  <a:lnTo>
                    <a:pt x="402" y="3202"/>
                  </a:lnTo>
                  <a:lnTo>
                    <a:pt x="402" y="3160"/>
                  </a:lnTo>
                  <a:close/>
                  <a:moveTo>
                    <a:pt x="307" y="370"/>
                  </a:moveTo>
                  <a:lnTo>
                    <a:pt x="381" y="370"/>
                  </a:lnTo>
                  <a:lnTo>
                    <a:pt x="381" y="412"/>
                  </a:lnTo>
                  <a:lnTo>
                    <a:pt x="307" y="412"/>
                  </a:lnTo>
                  <a:lnTo>
                    <a:pt x="307" y="370"/>
                  </a:lnTo>
                  <a:close/>
                  <a:moveTo>
                    <a:pt x="307" y="444"/>
                  </a:moveTo>
                  <a:lnTo>
                    <a:pt x="381" y="444"/>
                  </a:lnTo>
                  <a:lnTo>
                    <a:pt x="381" y="497"/>
                  </a:lnTo>
                  <a:lnTo>
                    <a:pt x="307" y="497"/>
                  </a:lnTo>
                  <a:lnTo>
                    <a:pt x="307" y="444"/>
                  </a:lnTo>
                  <a:close/>
                  <a:moveTo>
                    <a:pt x="307" y="529"/>
                  </a:moveTo>
                  <a:lnTo>
                    <a:pt x="381" y="529"/>
                  </a:lnTo>
                  <a:lnTo>
                    <a:pt x="381" y="571"/>
                  </a:lnTo>
                  <a:lnTo>
                    <a:pt x="307" y="571"/>
                  </a:lnTo>
                  <a:lnTo>
                    <a:pt x="307" y="529"/>
                  </a:lnTo>
                  <a:close/>
                  <a:moveTo>
                    <a:pt x="307" y="602"/>
                  </a:moveTo>
                  <a:lnTo>
                    <a:pt x="381" y="602"/>
                  </a:lnTo>
                  <a:lnTo>
                    <a:pt x="381" y="655"/>
                  </a:lnTo>
                  <a:lnTo>
                    <a:pt x="307" y="655"/>
                  </a:lnTo>
                  <a:lnTo>
                    <a:pt x="307" y="602"/>
                  </a:lnTo>
                  <a:close/>
                  <a:moveTo>
                    <a:pt x="307" y="761"/>
                  </a:moveTo>
                  <a:lnTo>
                    <a:pt x="381" y="761"/>
                  </a:lnTo>
                  <a:lnTo>
                    <a:pt x="381" y="814"/>
                  </a:lnTo>
                  <a:lnTo>
                    <a:pt x="307" y="814"/>
                  </a:lnTo>
                  <a:lnTo>
                    <a:pt x="307" y="761"/>
                  </a:lnTo>
                  <a:close/>
                  <a:moveTo>
                    <a:pt x="307" y="846"/>
                  </a:moveTo>
                  <a:lnTo>
                    <a:pt x="381" y="846"/>
                  </a:lnTo>
                  <a:lnTo>
                    <a:pt x="381" y="898"/>
                  </a:lnTo>
                  <a:lnTo>
                    <a:pt x="307" y="898"/>
                  </a:lnTo>
                  <a:lnTo>
                    <a:pt x="307" y="846"/>
                  </a:lnTo>
                  <a:close/>
                  <a:moveTo>
                    <a:pt x="307" y="930"/>
                  </a:moveTo>
                  <a:lnTo>
                    <a:pt x="381" y="930"/>
                  </a:lnTo>
                  <a:lnTo>
                    <a:pt x="381" y="972"/>
                  </a:lnTo>
                  <a:lnTo>
                    <a:pt x="307" y="972"/>
                  </a:lnTo>
                  <a:lnTo>
                    <a:pt x="307" y="930"/>
                  </a:lnTo>
                  <a:close/>
                  <a:moveTo>
                    <a:pt x="307" y="1004"/>
                  </a:moveTo>
                  <a:lnTo>
                    <a:pt x="381" y="1004"/>
                  </a:lnTo>
                  <a:lnTo>
                    <a:pt x="381" y="1057"/>
                  </a:lnTo>
                  <a:lnTo>
                    <a:pt x="307" y="1057"/>
                  </a:lnTo>
                  <a:lnTo>
                    <a:pt x="307" y="1004"/>
                  </a:lnTo>
                  <a:close/>
                  <a:moveTo>
                    <a:pt x="307" y="1089"/>
                  </a:moveTo>
                  <a:lnTo>
                    <a:pt x="381" y="1089"/>
                  </a:lnTo>
                  <a:lnTo>
                    <a:pt x="381" y="1131"/>
                  </a:lnTo>
                  <a:lnTo>
                    <a:pt x="307" y="1131"/>
                  </a:lnTo>
                  <a:lnTo>
                    <a:pt x="307" y="1089"/>
                  </a:lnTo>
                  <a:close/>
                  <a:moveTo>
                    <a:pt x="307" y="1163"/>
                  </a:moveTo>
                  <a:lnTo>
                    <a:pt x="381" y="1163"/>
                  </a:lnTo>
                  <a:lnTo>
                    <a:pt x="381" y="1215"/>
                  </a:lnTo>
                  <a:lnTo>
                    <a:pt x="307" y="1215"/>
                  </a:lnTo>
                  <a:lnTo>
                    <a:pt x="307" y="1163"/>
                  </a:lnTo>
                  <a:close/>
                  <a:moveTo>
                    <a:pt x="307" y="1247"/>
                  </a:moveTo>
                  <a:lnTo>
                    <a:pt x="381" y="1247"/>
                  </a:lnTo>
                  <a:lnTo>
                    <a:pt x="381" y="1289"/>
                  </a:lnTo>
                  <a:lnTo>
                    <a:pt x="307" y="1289"/>
                  </a:lnTo>
                  <a:lnTo>
                    <a:pt x="307" y="1247"/>
                  </a:lnTo>
                  <a:close/>
                  <a:moveTo>
                    <a:pt x="307" y="1321"/>
                  </a:moveTo>
                  <a:lnTo>
                    <a:pt x="381" y="1321"/>
                  </a:lnTo>
                  <a:lnTo>
                    <a:pt x="381" y="1374"/>
                  </a:lnTo>
                  <a:lnTo>
                    <a:pt x="307" y="1374"/>
                  </a:lnTo>
                  <a:lnTo>
                    <a:pt x="307" y="1321"/>
                  </a:lnTo>
                  <a:close/>
                  <a:moveTo>
                    <a:pt x="307" y="1406"/>
                  </a:moveTo>
                  <a:lnTo>
                    <a:pt x="381" y="1406"/>
                  </a:lnTo>
                  <a:lnTo>
                    <a:pt x="381" y="1448"/>
                  </a:lnTo>
                  <a:lnTo>
                    <a:pt x="307" y="1448"/>
                  </a:lnTo>
                  <a:lnTo>
                    <a:pt x="307" y="1406"/>
                  </a:lnTo>
                  <a:close/>
                  <a:moveTo>
                    <a:pt x="307" y="1480"/>
                  </a:moveTo>
                  <a:lnTo>
                    <a:pt x="381" y="1480"/>
                  </a:lnTo>
                  <a:lnTo>
                    <a:pt x="381" y="1533"/>
                  </a:lnTo>
                  <a:lnTo>
                    <a:pt x="307" y="1533"/>
                  </a:lnTo>
                  <a:lnTo>
                    <a:pt x="307" y="1480"/>
                  </a:lnTo>
                  <a:close/>
                  <a:moveTo>
                    <a:pt x="307" y="1564"/>
                  </a:moveTo>
                  <a:lnTo>
                    <a:pt x="381" y="1564"/>
                  </a:lnTo>
                  <a:lnTo>
                    <a:pt x="381" y="1607"/>
                  </a:lnTo>
                  <a:lnTo>
                    <a:pt x="307" y="1607"/>
                  </a:lnTo>
                  <a:lnTo>
                    <a:pt x="307" y="1564"/>
                  </a:lnTo>
                  <a:close/>
                  <a:moveTo>
                    <a:pt x="307" y="1638"/>
                  </a:moveTo>
                  <a:lnTo>
                    <a:pt x="381" y="1638"/>
                  </a:lnTo>
                  <a:lnTo>
                    <a:pt x="381" y="1691"/>
                  </a:lnTo>
                  <a:lnTo>
                    <a:pt x="307" y="1691"/>
                  </a:lnTo>
                  <a:lnTo>
                    <a:pt x="307" y="1638"/>
                  </a:lnTo>
                  <a:close/>
                  <a:moveTo>
                    <a:pt x="307" y="1723"/>
                  </a:moveTo>
                  <a:lnTo>
                    <a:pt x="381" y="1723"/>
                  </a:lnTo>
                  <a:lnTo>
                    <a:pt x="381" y="1776"/>
                  </a:lnTo>
                  <a:lnTo>
                    <a:pt x="307" y="1776"/>
                  </a:lnTo>
                  <a:lnTo>
                    <a:pt x="307" y="1723"/>
                  </a:lnTo>
                  <a:close/>
                  <a:moveTo>
                    <a:pt x="307" y="1797"/>
                  </a:moveTo>
                  <a:lnTo>
                    <a:pt x="381" y="1797"/>
                  </a:lnTo>
                  <a:lnTo>
                    <a:pt x="381" y="1850"/>
                  </a:lnTo>
                  <a:lnTo>
                    <a:pt x="307" y="1850"/>
                  </a:lnTo>
                  <a:lnTo>
                    <a:pt x="307" y="1797"/>
                  </a:lnTo>
                  <a:close/>
                  <a:moveTo>
                    <a:pt x="307" y="1881"/>
                  </a:moveTo>
                  <a:lnTo>
                    <a:pt x="381" y="1881"/>
                  </a:lnTo>
                  <a:lnTo>
                    <a:pt x="381" y="1934"/>
                  </a:lnTo>
                  <a:lnTo>
                    <a:pt x="307" y="1934"/>
                  </a:lnTo>
                  <a:lnTo>
                    <a:pt x="307" y="1881"/>
                  </a:lnTo>
                  <a:close/>
                  <a:moveTo>
                    <a:pt x="307" y="1966"/>
                  </a:moveTo>
                  <a:lnTo>
                    <a:pt x="381" y="1966"/>
                  </a:lnTo>
                  <a:lnTo>
                    <a:pt x="381" y="2008"/>
                  </a:lnTo>
                  <a:lnTo>
                    <a:pt x="307" y="2008"/>
                  </a:lnTo>
                  <a:lnTo>
                    <a:pt x="307" y="1966"/>
                  </a:lnTo>
                  <a:close/>
                  <a:moveTo>
                    <a:pt x="307" y="2040"/>
                  </a:moveTo>
                  <a:lnTo>
                    <a:pt x="381" y="2040"/>
                  </a:lnTo>
                  <a:lnTo>
                    <a:pt x="381" y="2093"/>
                  </a:lnTo>
                  <a:lnTo>
                    <a:pt x="307" y="2093"/>
                  </a:lnTo>
                  <a:lnTo>
                    <a:pt x="307" y="2040"/>
                  </a:lnTo>
                  <a:close/>
                  <a:moveTo>
                    <a:pt x="307" y="2124"/>
                  </a:moveTo>
                  <a:lnTo>
                    <a:pt x="381" y="2124"/>
                  </a:lnTo>
                  <a:lnTo>
                    <a:pt x="381" y="2167"/>
                  </a:lnTo>
                  <a:lnTo>
                    <a:pt x="307" y="2167"/>
                  </a:lnTo>
                  <a:lnTo>
                    <a:pt x="307" y="2124"/>
                  </a:lnTo>
                  <a:close/>
                  <a:moveTo>
                    <a:pt x="307" y="2198"/>
                  </a:moveTo>
                  <a:lnTo>
                    <a:pt x="381" y="2198"/>
                  </a:lnTo>
                  <a:lnTo>
                    <a:pt x="381" y="2251"/>
                  </a:lnTo>
                  <a:lnTo>
                    <a:pt x="307" y="2251"/>
                  </a:lnTo>
                  <a:lnTo>
                    <a:pt x="307" y="2198"/>
                  </a:lnTo>
                  <a:close/>
                  <a:moveTo>
                    <a:pt x="307" y="2283"/>
                  </a:moveTo>
                  <a:lnTo>
                    <a:pt x="381" y="2283"/>
                  </a:lnTo>
                  <a:lnTo>
                    <a:pt x="381" y="2325"/>
                  </a:lnTo>
                  <a:lnTo>
                    <a:pt x="307" y="2325"/>
                  </a:lnTo>
                  <a:lnTo>
                    <a:pt x="307" y="2283"/>
                  </a:lnTo>
                  <a:close/>
                  <a:moveTo>
                    <a:pt x="307" y="2357"/>
                  </a:moveTo>
                  <a:lnTo>
                    <a:pt x="381" y="2357"/>
                  </a:lnTo>
                  <a:lnTo>
                    <a:pt x="381" y="2410"/>
                  </a:lnTo>
                  <a:lnTo>
                    <a:pt x="307" y="2410"/>
                  </a:lnTo>
                  <a:lnTo>
                    <a:pt x="307" y="2357"/>
                  </a:lnTo>
                  <a:close/>
                  <a:moveTo>
                    <a:pt x="307" y="2441"/>
                  </a:moveTo>
                  <a:lnTo>
                    <a:pt x="381" y="2441"/>
                  </a:lnTo>
                  <a:lnTo>
                    <a:pt x="381" y="2484"/>
                  </a:lnTo>
                  <a:lnTo>
                    <a:pt x="307" y="2484"/>
                  </a:lnTo>
                  <a:lnTo>
                    <a:pt x="307" y="2441"/>
                  </a:lnTo>
                  <a:close/>
                  <a:moveTo>
                    <a:pt x="307" y="2515"/>
                  </a:moveTo>
                  <a:lnTo>
                    <a:pt x="381" y="2515"/>
                  </a:lnTo>
                  <a:lnTo>
                    <a:pt x="381" y="2568"/>
                  </a:lnTo>
                  <a:lnTo>
                    <a:pt x="307" y="2568"/>
                  </a:lnTo>
                  <a:lnTo>
                    <a:pt x="307" y="2515"/>
                  </a:lnTo>
                  <a:close/>
                  <a:moveTo>
                    <a:pt x="307" y="2600"/>
                  </a:moveTo>
                  <a:lnTo>
                    <a:pt x="381" y="2600"/>
                  </a:lnTo>
                  <a:lnTo>
                    <a:pt x="381" y="2642"/>
                  </a:lnTo>
                  <a:lnTo>
                    <a:pt x="307" y="2642"/>
                  </a:lnTo>
                  <a:lnTo>
                    <a:pt x="307" y="2600"/>
                  </a:lnTo>
                  <a:close/>
                  <a:moveTo>
                    <a:pt x="307" y="2674"/>
                  </a:moveTo>
                  <a:lnTo>
                    <a:pt x="381" y="2674"/>
                  </a:lnTo>
                  <a:lnTo>
                    <a:pt x="381" y="2727"/>
                  </a:lnTo>
                  <a:lnTo>
                    <a:pt x="307" y="2727"/>
                  </a:lnTo>
                  <a:lnTo>
                    <a:pt x="307" y="2674"/>
                  </a:lnTo>
                  <a:close/>
                  <a:moveTo>
                    <a:pt x="307" y="2759"/>
                  </a:moveTo>
                  <a:lnTo>
                    <a:pt x="381" y="2759"/>
                  </a:lnTo>
                  <a:lnTo>
                    <a:pt x="381" y="2801"/>
                  </a:lnTo>
                  <a:lnTo>
                    <a:pt x="307" y="2801"/>
                  </a:lnTo>
                  <a:lnTo>
                    <a:pt x="307" y="2759"/>
                  </a:lnTo>
                  <a:close/>
                  <a:moveTo>
                    <a:pt x="307" y="2833"/>
                  </a:moveTo>
                  <a:lnTo>
                    <a:pt x="381" y="2833"/>
                  </a:lnTo>
                  <a:lnTo>
                    <a:pt x="381" y="2885"/>
                  </a:lnTo>
                  <a:lnTo>
                    <a:pt x="307" y="2885"/>
                  </a:lnTo>
                  <a:lnTo>
                    <a:pt x="307" y="2833"/>
                  </a:lnTo>
                  <a:close/>
                  <a:moveTo>
                    <a:pt x="307" y="2917"/>
                  </a:moveTo>
                  <a:lnTo>
                    <a:pt x="381" y="2917"/>
                  </a:lnTo>
                  <a:lnTo>
                    <a:pt x="381" y="2970"/>
                  </a:lnTo>
                  <a:lnTo>
                    <a:pt x="307" y="2970"/>
                  </a:lnTo>
                  <a:lnTo>
                    <a:pt x="307" y="2917"/>
                  </a:lnTo>
                  <a:close/>
                  <a:moveTo>
                    <a:pt x="307" y="2991"/>
                  </a:moveTo>
                  <a:lnTo>
                    <a:pt x="381" y="2991"/>
                  </a:lnTo>
                  <a:lnTo>
                    <a:pt x="381" y="3044"/>
                  </a:lnTo>
                  <a:lnTo>
                    <a:pt x="307" y="3044"/>
                  </a:lnTo>
                  <a:lnTo>
                    <a:pt x="307" y="2991"/>
                  </a:lnTo>
                  <a:close/>
                  <a:moveTo>
                    <a:pt x="307" y="3076"/>
                  </a:moveTo>
                  <a:lnTo>
                    <a:pt x="381" y="3076"/>
                  </a:lnTo>
                  <a:lnTo>
                    <a:pt x="381" y="3128"/>
                  </a:lnTo>
                  <a:lnTo>
                    <a:pt x="307" y="3128"/>
                  </a:lnTo>
                  <a:lnTo>
                    <a:pt x="307" y="3076"/>
                  </a:lnTo>
                  <a:close/>
                  <a:moveTo>
                    <a:pt x="307" y="3160"/>
                  </a:moveTo>
                  <a:lnTo>
                    <a:pt x="381" y="3160"/>
                  </a:lnTo>
                  <a:lnTo>
                    <a:pt x="381" y="3202"/>
                  </a:lnTo>
                  <a:lnTo>
                    <a:pt x="307" y="3202"/>
                  </a:lnTo>
                  <a:lnTo>
                    <a:pt x="307" y="3160"/>
                  </a:lnTo>
                  <a:close/>
                  <a:moveTo>
                    <a:pt x="211" y="370"/>
                  </a:moveTo>
                  <a:lnTo>
                    <a:pt x="285" y="370"/>
                  </a:lnTo>
                  <a:lnTo>
                    <a:pt x="285" y="412"/>
                  </a:lnTo>
                  <a:lnTo>
                    <a:pt x="211" y="412"/>
                  </a:lnTo>
                  <a:lnTo>
                    <a:pt x="211" y="370"/>
                  </a:lnTo>
                  <a:close/>
                  <a:moveTo>
                    <a:pt x="211" y="444"/>
                  </a:moveTo>
                  <a:lnTo>
                    <a:pt x="285" y="444"/>
                  </a:lnTo>
                  <a:lnTo>
                    <a:pt x="285" y="497"/>
                  </a:lnTo>
                  <a:lnTo>
                    <a:pt x="211" y="497"/>
                  </a:lnTo>
                  <a:lnTo>
                    <a:pt x="211" y="444"/>
                  </a:lnTo>
                  <a:close/>
                  <a:moveTo>
                    <a:pt x="211" y="529"/>
                  </a:moveTo>
                  <a:lnTo>
                    <a:pt x="285" y="529"/>
                  </a:lnTo>
                  <a:lnTo>
                    <a:pt x="285" y="571"/>
                  </a:lnTo>
                  <a:lnTo>
                    <a:pt x="211" y="571"/>
                  </a:lnTo>
                  <a:lnTo>
                    <a:pt x="211" y="529"/>
                  </a:lnTo>
                  <a:close/>
                  <a:moveTo>
                    <a:pt x="211" y="602"/>
                  </a:moveTo>
                  <a:lnTo>
                    <a:pt x="285" y="602"/>
                  </a:lnTo>
                  <a:lnTo>
                    <a:pt x="285" y="655"/>
                  </a:lnTo>
                  <a:lnTo>
                    <a:pt x="211" y="655"/>
                  </a:lnTo>
                  <a:lnTo>
                    <a:pt x="211" y="602"/>
                  </a:lnTo>
                  <a:close/>
                  <a:moveTo>
                    <a:pt x="211" y="687"/>
                  </a:moveTo>
                  <a:lnTo>
                    <a:pt x="285" y="687"/>
                  </a:lnTo>
                  <a:lnTo>
                    <a:pt x="285" y="740"/>
                  </a:lnTo>
                  <a:lnTo>
                    <a:pt x="211" y="740"/>
                  </a:lnTo>
                  <a:lnTo>
                    <a:pt x="211" y="687"/>
                  </a:lnTo>
                  <a:close/>
                  <a:moveTo>
                    <a:pt x="211" y="761"/>
                  </a:moveTo>
                  <a:lnTo>
                    <a:pt x="285" y="761"/>
                  </a:lnTo>
                  <a:lnTo>
                    <a:pt x="285" y="814"/>
                  </a:lnTo>
                  <a:lnTo>
                    <a:pt x="211" y="814"/>
                  </a:lnTo>
                  <a:lnTo>
                    <a:pt x="211" y="761"/>
                  </a:lnTo>
                  <a:close/>
                  <a:moveTo>
                    <a:pt x="211" y="930"/>
                  </a:moveTo>
                  <a:lnTo>
                    <a:pt x="285" y="930"/>
                  </a:lnTo>
                  <a:lnTo>
                    <a:pt x="285" y="972"/>
                  </a:lnTo>
                  <a:lnTo>
                    <a:pt x="211" y="972"/>
                  </a:lnTo>
                  <a:lnTo>
                    <a:pt x="211" y="930"/>
                  </a:lnTo>
                  <a:close/>
                  <a:moveTo>
                    <a:pt x="211" y="1004"/>
                  </a:moveTo>
                  <a:lnTo>
                    <a:pt x="285" y="1004"/>
                  </a:lnTo>
                  <a:lnTo>
                    <a:pt x="285" y="1057"/>
                  </a:lnTo>
                  <a:lnTo>
                    <a:pt x="211" y="1057"/>
                  </a:lnTo>
                  <a:lnTo>
                    <a:pt x="211" y="1004"/>
                  </a:lnTo>
                  <a:close/>
                  <a:moveTo>
                    <a:pt x="211" y="1089"/>
                  </a:moveTo>
                  <a:lnTo>
                    <a:pt x="285" y="1089"/>
                  </a:lnTo>
                  <a:lnTo>
                    <a:pt x="285" y="1131"/>
                  </a:lnTo>
                  <a:lnTo>
                    <a:pt x="211" y="1131"/>
                  </a:lnTo>
                  <a:lnTo>
                    <a:pt x="211" y="1089"/>
                  </a:lnTo>
                  <a:close/>
                  <a:moveTo>
                    <a:pt x="211" y="1163"/>
                  </a:moveTo>
                  <a:lnTo>
                    <a:pt x="285" y="1163"/>
                  </a:lnTo>
                  <a:lnTo>
                    <a:pt x="285" y="1215"/>
                  </a:lnTo>
                  <a:lnTo>
                    <a:pt x="211" y="1215"/>
                  </a:lnTo>
                  <a:lnTo>
                    <a:pt x="211" y="1163"/>
                  </a:lnTo>
                  <a:close/>
                  <a:moveTo>
                    <a:pt x="211" y="1247"/>
                  </a:moveTo>
                  <a:lnTo>
                    <a:pt x="285" y="1247"/>
                  </a:lnTo>
                  <a:lnTo>
                    <a:pt x="285" y="1289"/>
                  </a:lnTo>
                  <a:lnTo>
                    <a:pt x="211" y="1289"/>
                  </a:lnTo>
                  <a:lnTo>
                    <a:pt x="211" y="1247"/>
                  </a:lnTo>
                  <a:close/>
                  <a:moveTo>
                    <a:pt x="211" y="1321"/>
                  </a:moveTo>
                  <a:lnTo>
                    <a:pt x="285" y="1321"/>
                  </a:lnTo>
                  <a:lnTo>
                    <a:pt x="285" y="1374"/>
                  </a:lnTo>
                  <a:lnTo>
                    <a:pt x="211" y="1374"/>
                  </a:lnTo>
                  <a:lnTo>
                    <a:pt x="211" y="1321"/>
                  </a:lnTo>
                  <a:close/>
                  <a:moveTo>
                    <a:pt x="211" y="1406"/>
                  </a:moveTo>
                  <a:lnTo>
                    <a:pt x="285" y="1406"/>
                  </a:lnTo>
                  <a:lnTo>
                    <a:pt x="285" y="1448"/>
                  </a:lnTo>
                  <a:lnTo>
                    <a:pt x="211" y="1448"/>
                  </a:lnTo>
                  <a:lnTo>
                    <a:pt x="211" y="1406"/>
                  </a:lnTo>
                  <a:close/>
                  <a:moveTo>
                    <a:pt x="211" y="1480"/>
                  </a:moveTo>
                  <a:lnTo>
                    <a:pt x="285" y="1480"/>
                  </a:lnTo>
                  <a:lnTo>
                    <a:pt x="285" y="1533"/>
                  </a:lnTo>
                  <a:lnTo>
                    <a:pt x="211" y="1533"/>
                  </a:lnTo>
                  <a:lnTo>
                    <a:pt x="211" y="1480"/>
                  </a:lnTo>
                  <a:close/>
                  <a:moveTo>
                    <a:pt x="211" y="1564"/>
                  </a:moveTo>
                  <a:lnTo>
                    <a:pt x="285" y="1564"/>
                  </a:lnTo>
                  <a:lnTo>
                    <a:pt x="285" y="1607"/>
                  </a:lnTo>
                  <a:lnTo>
                    <a:pt x="211" y="1607"/>
                  </a:lnTo>
                  <a:lnTo>
                    <a:pt x="211" y="1564"/>
                  </a:lnTo>
                  <a:close/>
                  <a:moveTo>
                    <a:pt x="211" y="1638"/>
                  </a:moveTo>
                  <a:lnTo>
                    <a:pt x="285" y="1638"/>
                  </a:lnTo>
                  <a:lnTo>
                    <a:pt x="285" y="1691"/>
                  </a:lnTo>
                  <a:lnTo>
                    <a:pt x="211" y="1691"/>
                  </a:lnTo>
                  <a:lnTo>
                    <a:pt x="211" y="1638"/>
                  </a:lnTo>
                  <a:close/>
                  <a:moveTo>
                    <a:pt x="211" y="1723"/>
                  </a:moveTo>
                  <a:lnTo>
                    <a:pt x="285" y="1723"/>
                  </a:lnTo>
                  <a:lnTo>
                    <a:pt x="285" y="1776"/>
                  </a:lnTo>
                  <a:lnTo>
                    <a:pt x="211" y="1776"/>
                  </a:lnTo>
                  <a:lnTo>
                    <a:pt x="211" y="1723"/>
                  </a:lnTo>
                  <a:close/>
                  <a:moveTo>
                    <a:pt x="211" y="1797"/>
                  </a:moveTo>
                  <a:lnTo>
                    <a:pt x="285" y="1797"/>
                  </a:lnTo>
                  <a:lnTo>
                    <a:pt x="285" y="1850"/>
                  </a:lnTo>
                  <a:lnTo>
                    <a:pt x="211" y="1850"/>
                  </a:lnTo>
                  <a:lnTo>
                    <a:pt x="211" y="1797"/>
                  </a:lnTo>
                  <a:close/>
                  <a:moveTo>
                    <a:pt x="211" y="1881"/>
                  </a:moveTo>
                  <a:lnTo>
                    <a:pt x="285" y="1881"/>
                  </a:lnTo>
                  <a:lnTo>
                    <a:pt x="285" y="1934"/>
                  </a:lnTo>
                  <a:lnTo>
                    <a:pt x="211" y="1934"/>
                  </a:lnTo>
                  <a:lnTo>
                    <a:pt x="211" y="1881"/>
                  </a:lnTo>
                  <a:close/>
                  <a:moveTo>
                    <a:pt x="211" y="1966"/>
                  </a:moveTo>
                  <a:lnTo>
                    <a:pt x="285" y="1966"/>
                  </a:lnTo>
                  <a:lnTo>
                    <a:pt x="285" y="2008"/>
                  </a:lnTo>
                  <a:lnTo>
                    <a:pt x="211" y="2008"/>
                  </a:lnTo>
                  <a:lnTo>
                    <a:pt x="211" y="1966"/>
                  </a:lnTo>
                  <a:close/>
                  <a:moveTo>
                    <a:pt x="211" y="2040"/>
                  </a:moveTo>
                  <a:lnTo>
                    <a:pt x="285" y="2040"/>
                  </a:lnTo>
                  <a:lnTo>
                    <a:pt x="285" y="2093"/>
                  </a:lnTo>
                  <a:lnTo>
                    <a:pt x="211" y="2093"/>
                  </a:lnTo>
                  <a:lnTo>
                    <a:pt x="211" y="2040"/>
                  </a:lnTo>
                  <a:close/>
                  <a:moveTo>
                    <a:pt x="211" y="2198"/>
                  </a:moveTo>
                  <a:lnTo>
                    <a:pt x="285" y="2198"/>
                  </a:lnTo>
                  <a:lnTo>
                    <a:pt x="285" y="2251"/>
                  </a:lnTo>
                  <a:lnTo>
                    <a:pt x="211" y="2251"/>
                  </a:lnTo>
                  <a:lnTo>
                    <a:pt x="211" y="2198"/>
                  </a:lnTo>
                  <a:close/>
                  <a:moveTo>
                    <a:pt x="211" y="2283"/>
                  </a:moveTo>
                  <a:lnTo>
                    <a:pt x="285" y="2283"/>
                  </a:lnTo>
                  <a:lnTo>
                    <a:pt x="285" y="2325"/>
                  </a:lnTo>
                  <a:lnTo>
                    <a:pt x="211" y="2325"/>
                  </a:lnTo>
                  <a:lnTo>
                    <a:pt x="211" y="2283"/>
                  </a:lnTo>
                  <a:close/>
                  <a:moveTo>
                    <a:pt x="211" y="2357"/>
                  </a:moveTo>
                  <a:lnTo>
                    <a:pt x="285" y="2357"/>
                  </a:lnTo>
                  <a:lnTo>
                    <a:pt x="285" y="2410"/>
                  </a:lnTo>
                  <a:lnTo>
                    <a:pt x="211" y="2410"/>
                  </a:lnTo>
                  <a:lnTo>
                    <a:pt x="211" y="2357"/>
                  </a:lnTo>
                  <a:close/>
                  <a:moveTo>
                    <a:pt x="211" y="2515"/>
                  </a:moveTo>
                  <a:lnTo>
                    <a:pt x="285" y="2515"/>
                  </a:lnTo>
                  <a:lnTo>
                    <a:pt x="285" y="2568"/>
                  </a:lnTo>
                  <a:lnTo>
                    <a:pt x="211" y="2568"/>
                  </a:lnTo>
                  <a:lnTo>
                    <a:pt x="211" y="2515"/>
                  </a:lnTo>
                  <a:close/>
                  <a:moveTo>
                    <a:pt x="211" y="2600"/>
                  </a:moveTo>
                  <a:lnTo>
                    <a:pt x="285" y="2600"/>
                  </a:lnTo>
                  <a:lnTo>
                    <a:pt x="285" y="2642"/>
                  </a:lnTo>
                  <a:lnTo>
                    <a:pt x="211" y="2642"/>
                  </a:lnTo>
                  <a:lnTo>
                    <a:pt x="211" y="2600"/>
                  </a:lnTo>
                  <a:close/>
                  <a:moveTo>
                    <a:pt x="211" y="2674"/>
                  </a:moveTo>
                  <a:lnTo>
                    <a:pt x="285" y="2674"/>
                  </a:lnTo>
                  <a:lnTo>
                    <a:pt x="285" y="2727"/>
                  </a:lnTo>
                  <a:lnTo>
                    <a:pt x="211" y="2727"/>
                  </a:lnTo>
                  <a:lnTo>
                    <a:pt x="211" y="2674"/>
                  </a:lnTo>
                  <a:close/>
                  <a:moveTo>
                    <a:pt x="211" y="2759"/>
                  </a:moveTo>
                  <a:lnTo>
                    <a:pt x="285" y="2759"/>
                  </a:lnTo>
                  <a:lnTo>
                    <a:pt x="285" y="2801"/>
                  </a:lnTo>
                  <a:lnTo>
                    <a:pt x="211" y="2801"/>
                  </a:lnTo>
                  <a:lnTo>
                    <a:pt x="211" y="2759"/>
                  </a:lnTo>
                  <a:close/>
                  <a:moveTo>
                    <a:pt x="211" y="2833"/>
                  </a:moveTo>
                  <a:lnTo>
                    <a:pt x="285" y="2833"/>
                  </a:lnTo>
                  <a:lnTo>
                    <a:pt x="285" y="2885"/>
                  </a:lnTo>
                  <a:lnTo>
                    <a:pt x="211" y="2885"/>
                  </a:lnTo>
                  <a:lnTo>
                    <a:pt x="211" y="2833"/>
                  </a:lnTo>
                  <a:close/>
                  <a:moveTo>
                    <a:pt x="211" y="2991"/>
                  </a:moveTo>
                  <a:lnTo>
                    <a:pt x="285" y="2991"/>
                  </a:lnTo>
                  <a:lnTo>
                    <a:pt x="285" y="3044"/>
                  </a:lnTo>
                  <a:lnTo>
                    <a:pt x="211" y="3044"/>
                  </a:lnTo>
                  <a:lnTo>
                    <a:pt x="211" y="2991"/>
                  </a:lnTo>
                  <a:close/>
                  <a:moveTo>
                    <a:pt x="211" y="3076"/>
                  </a:moveTo>
                  <a:lnTo>
                    <a:pt x="285" y="3076"/>
                  </a:lnTo>
                  <a:lnTo>
                    <a:pt x="285" y="3128"/>
                  </a:lnTo>
                  <a:lnTo>
                    <a:pt x="211" y="3128"/>
                  </a:lnTo>
                  <a:lnTo>
                    <a:pt x="211" y="3076"/>
                  </a:lnTo>
                  <a:close/>
                  <a:moveTo>
                    <a:pt x="211" y="3160"/>
                  </a:moveTo>
                  <a:lnTo>
                    <a:pt x="285" y="3160"/>
                  </a:lnTo>
                  <a:lnTo>
                    <a:pt x="285" y="3202"/>
                  </a:lnTo>
                  <a:lnTo>
                    <a:pt x="211" y="3202"/>
                  </a:lnTo>
                  <a:lnTo>
                    <a:pt x="211" y="3160"/>
                  </a:lnTo>
                  <a:close/>
                  <a:moveTo>
                    <a:pt x="190" y="3403"/>
                  </a:moveTo>
                  <a:lnTo>
                    <a:pt x="254" y="3403"/>
                  </a:lnTo>
                  <a:lnTo>
                    <a:pt x="254" y="3667"/>
                  </a:lnTo>
                  <a:lnTo>
                    <a:pt x="190" y="3667"/>
                  </a:lnTo>
                  <a:lnTo>
                    <a:pt x="190" y="3403"/>
                  </a:lnTo>
                  <a:close/>
                  <a:moveTo>
                    <a:pt x="190" y="3731"/>
                  </a:moveTo>
                  <a:lnTo>
                    <a:pt x="254" y="3731"/>
                  </a:lnTo>
                  <a:lnTo>
                    <a:pt x="254" y="3995"/>
                  </a:lnTo>
                  <a:lnTo>
                    <a:pt x="190" y="3995"/>
                  </a:lnTo>
                  <a:lnTo>
                    <a:pt x="190" y="3731"/>
                  </a:lnTo>
                  <a:close/>
                  <a:moveTo>
                    <a:pt x="190" y="4037"/>
                  </a:moveTo>
                  <a:lnTo>
                    <a:pt x="254" y="4037"/>
                  </a:lnTo>
                  <a:lnTo>
                    <a:pt x="254" y="4302"/>
                  </a:lnTo>
                  <a:lnTo>
                    <a:pt x="190" y="4302"/>
                  </a:lnTo>
                  <a:lnTo>
                    <a:pt x="190" y="4037"/>
                  </a:lnTo>
                  <a:close/>
                  <a:moveTo>
                    <a:pt x="116" y="444"/>
                  </a:moveTo>
                  <a:lnTo>
                    <a:pt x="190" y="444"/>
                  </a:lnTo>
                  <a:lnTo>
                    <a:pt x="190" y="497"/>
                  </a:lnTo>
                  <a:lnTo>
                    <a:pt x="116" y="497"/>
                  </a:lnTo>
                  <a:lnTo>
                    <a:pt x="116" y="444"/>
                  </a:lnTo>
                  <a:close/>
                  <a:moveTo>
                    <a:pt x="116" y="529"/>
                  </a:moveTo>
                  <a:lnTo>
                    <a:pt x="190" y="529"/>
                  </a:lnTo>
                  <a:lnTo>
                    <a:pt x="190" y="571"/>
                  </a:lnTo>
                  <a:lnTo>
                    <a:pt x="116" y="571"/>
                  </a:lnTo>
                  <a:lnTo>
                    <a:pt x="116" y="529"/>
                  </a:lnTo>
                  <a:close/>
                  <a:moveTo>
                    <a:pt x="116" y="602"/>
                  </a:moveTo>
                  <a:lnTo>
                    <a:pt x="190" y="602"/>
                  </a:lnTo>
                  <a:lnTo>
                    <a:pt x="190" y="655"/>
                  </a:lnTo>
                  <a:lnTo>
                    <a:pt x="116" y="655"/>
                  </a:lnTo>
                  <a:lnTo>
                    <a:pt x="116" y="602"/>
                  </a:lnTo>
                  <a:close/>
                  <a:moveTo>
                    <a:pt x="116" y="687"/>
                  </a:moveTo>
                  <a:lnTo>
                    <a:pt x="190" y="687"/>
                  </a:lnTo>
                  <a:lnTo>
                    <a:pt x="190" y="740"/>
                  </a:lnTo>
                  <a:lnTo>
                    <a:pt x="116" y="740"/>
                  </a:lnTo>
                  <a:lnTo>
                    <a:pt x="116" y="687"/>
                  </a:lnTo>
                  <a:close/>
                  <a:moveTo>
                    <a:pt x="116" y="761"/>
                  </a:moveTo>
                  <a:lnTo>
                    <a:pt x="190" y="761"/>
                  </a:lnTo>
                  <a:lnTo>
                    <a:pt x="190" y="814"/>
                  </a:lnTo>
                  <a:lnTo>
                    <a:pt x="116" y="814"/>
                  </a:lnTo>
                  <a:lnTo>
                    <a:pt x="116" y="761"/>
                  </a:lnTo>
                  <a:close/>
                  <a:moveTo>
                    <a:pt x="116" y="846"/>
                  </a:moveTo>
                  <a:lnTo>
                    <a:pt x="190" y="846"/>
                  </a:lnTo>
                  <a:lnTo>
                    <a:pt x="190" y="898"/>
                  </a:lnTo>
                  <a:lnTo>
                    <a:pt x="116" y="898"/>
                  </a:lnTo>
                  <a:lnTo>
                    <a:pt x="116" y="846"/>
                  </a:lnTo>
                  <a:close/>
                  <a:moveTo>
                    <a:pt x="116" y="930"/>
                  </a:moveTo>
                  <a:lnTo>
                    <a:pt x="190" y="930"/>
                  </a:lnTo>
                  <a:lnTo>
                    <a:pt x="190" y="972"/>
                  </a:lnTo>
                  <a:lnTo>
                    <a:pt x="116" y="972"/>
                  </a:lnTo>
                  <a:lnTo>
                    <a:pt x="116" y="930"/>
                  </a:lnTo>
                  <a:close/>
                  <a:moveTo>
                    <a:pt x="116" y="1089"/>
                  </a:moveTo>
                  <a:lnTo>
                    <a:pt x="190" y="1089"/>
                  </a:lnTo>
                  <a:lnTo>
                    <a:pt x="190" y="1131"/>
                  </a:lnTo>
                  <a:lnTo>
                    <a:pt x="116" y="1131"/>
                  </a:lnTo>
                  <a:lnTo>
                    <a:pt x="116" y="1089"/>
                  </a:lnTo>
                  <a:close/>
                  <a:moveTo>
                    <a:pt x="116" y="1163"/>
                  </a:moveTo>
                  <a:lnTo>
                    <a:pt x="190" y="1163"/>
                  </a:lnTo>
                  <a:lnTo>
                    <a:pt x="190" y="1215"/>
                  </a:lnTo>
                  <a:lnTo>
                    <a:pt x="116" y="1215"/>
                  </a:lnTo>
                  <a:lnTo>
                    <a:pt x="116" y="1163"/>
                  </a:lnTo>
                  <a:close/>
                  <a:moveTo>
                    <a:pt x="116" y="1247"/>
                  </a:moveTo>
                  <a:lnTo>
                    <a:pt x="190" y="1247"/>
                  </a:lnTo>
                  <a:lnTo>
                    <a:pt x="190" y="1289"/>
                  </a:lnTo>
                  <a:lnTo>
                    <a:pt x="116" y="1289"/>
                  </a:lnTo>
                  <a:lnTo>
                    <a:pt x="116" y="1247"/>
                  </a:lnTo>
                  <a:close/>
                  <a:moveTo>
                    <a:pt x="116" y="1321"/>
                  </a:moveTo>
                  <a:lnTo>
                    <a:pt x="190" y="1321"/>
                  </a:lnTo>
                  <a:lnTo>
                    <a:pt x="190" y="1374"/>
                  </a:lnTo>
                  <a:lnTo>
                    <a:pt x="116" y="1374"/>
                  </a:lnTo>
                  <a:lnTo>
                    <a:pt x="116" y="1321"/>
                  </a:lnTo>
                  <a:close/>
                  <a:moveTo>
                    <a:pt x="116" y="1406"/>
                  </a:moveTo>
                  <a:lnTo>
                    <a:pt x="190" y="1406"/>
                  </a:lnTo>
                  <a:lnTo>
                    <a:pt x="190" y="1448"/>
                  </a:lnTo>
                  <a:lnTo>
                    <a:pt x="116" y="1448"/>
                  </a:lnTo>
                  <a:lnTo>
                    <a:pt x="116" y="1406"/>
                  </a:lnTo>
                  <a:close/>
                  <a:moveTo>
                    <a:pt x="116" y="1480"/>
                  </a:moveTo>
                  <a:lnTo>
                    <a:pt x="190" y="1480"/>
                  </a:lnTo>
                  <a:lnTo>
                    <a:pt x="190" y="1533"/>
                  </a:lnTo>
                  <a:lnTo>
                    <a:pt x="116" y="1533"/>
                  </a:lnTo>
                  <a:lnTo>
                    <a:pt x="116" y="1480"/>
                  </a:lnTo>
                  <a:close/>
                  <a:moveTo>
                    <a:pt x="116" y="1564"/>
                  </a:moveTo>
                  <a:lnTo>
                    <a:pt x="190" y="1564"/>
                  </a:lnTo>
                  <a:lnTo>
                    <a:pt x="190" y="1607"/>
                  </a:lnTo>
                  <a:lnTo>
                    <a:pt x="116" y="1607"/>
                  </a:lnTo>
                  <a:lnTo>
                    <a:pt x="116" y="1564"/>
                  </a:lnTo>
                  <a:close/>
                  <a:moveTo>
                    <a:pt x="116" y="1723"/>
                  </a:moveTo>
                  <a:lnTo>
                    <a:pt x="190" y="1723"/>
                  </a:lnTo>
                  <a:lnTo>
                    <a:pt x="190" y="1776"/>
                  </a:lnTo>
                  <a:lnTo>
                    <a:pt x="116" y="1776"/>
                  </a:lnTo>
                  <a:lnTo>
                    <a:pt x="116" y="1723"/>
                  </a:lnTo>
                  <a:close/>
                  <a:moveTo>
                    <a:pt x="116" y="1797"/>
                  </a:moveTo>
                  <a:lnTo>
                    <a:pt x="190" y="1797"/>
                  </a:lnTo>
                  <a:lnTo>
                    <a:pt x="190" y="1850"/>
                  </a:lnTo>
                  <a:lnTo>
                    <a:pt x="116" y="1850"/>
                  </a:lnTo>
                  <a:lnTo>
                    <a:pt x="116" y="1797"/>
                  </a:lnTo>
                  <a:close/>
                  <a:moveTo>
                    <a:pt x="116" y="1881"/>
                  </a:moveTo>
                  <a:lnTo>
                    <a:pt x="190" y="1881"/>
                  </a:lnTo>
                  <a:lnTo>
                    <a:pt x="190" y="1934"/>
                  </a:lnTo>
                  <a:lnTo>
                    <a:pt x="116" y="1934"/>
                  </a:lnTo>
                  <a:lnTo>
                    <a:pt x="116" y="1881"/>
                  </a:lnTo>
                  <a:close/>
                  <a:moveTo>
                    <a:pt x="116" y="1966"/>
                  </a:moveTo>
                  <a:lnTo>
                    <a:pt x="190" y="1966"/>
                  </a:lnTo>
                  <a:lnTo>
                    <a:pt x="190" y="2008"/>
                  </a:lnTo>
                  <a:lnTo>
                    <a:pt x="116" y="2008"/>
                  </a:lnTo>
                  <a:lnTo>
                    <a:pt x="116" y="1966"/>
                  </a:lnTo>
                  <a:close/>
                  <a:moveTo>
                    <a:pt x="116" y="2040"/>
                  </a:moveTo>
                  <a:lnTo>
                    <a:pt x="190" y="2040"/>
                  </a:lnTo>
                  <a:lnTo>
                    <a:pt x="190" y="2093"/>
                  </a:lnTo>
                  <a:lnTo>
                    <a:pt x="116" y="2093"/>
                  </a:lnTo>
                  <a:lnTo>
                    <a:pt x="116" y="2040"/>
                  </a:lnTo>
                  <a:close/>
                  <a:moveTo>
                    <a:pt x="116" y="2124"/>
                  </a:moveTo>
                  <a:lnTo>
                    <a:pt x="190" y="2124"/>
                  </a:lnTo>
                  <a:lnTo>
                    <a:pt x="190" y="2167"/>
                  </a:lnTo>
                  <a:lnTo>
                    <a:pt x="116" y="2167"/>
                  </a:lnTo>
                  <a:lnTo>
                    <a:pt x="116" y="2124"/>
                  </a:lnTo>
                  <a:close/>
                  <a:moveTo>
                    <a:pt x="116" y="2198"/>
                  </a:moveTo>
                  <a:lnTo>
                    <a:pt x="190" y="2198"/>
                  </a:lnTo>
                  <a:lnTo>
                    <a:pt x="190" y="2251"/>
                  </a:lnTo>
                  <a:lnTo>
                    <a:pt x="116" y="2251"/>
                  </a:lnTo>
                  <a:lnTo>
                    <a:pt x="116" y="2198"/>
                  </a:lnTo>
                  <a:close/>
                  <a:moveTo>
                    <a:pt x="116" y="2283"/>
                  </a:moveTo>
                  <a:lnTo>
                    <a:pt x="190" y="2283"/>
                  </a:lnTo>
                  <a:lnTo>
                    <a:pt x="190" y="2325"/>
                  </a:lnTo>
                  <a:lnTo>
                    <a:pt x="116" y="2325"/>
                  </a:lnTo>
                  <a:lnTo>
                    <a:pt x="116" y="2283"/>
                  </a:lnTo>
                  <a:close/>
                  <a:moveTo>
                    <a:pt x="116" y="2357"/>
                  </a:moveTo>
                  <a:lnTo>
                    <a:pt x="190" y="2357"/>
                  </a:lnTo>
                  <a:lnTo>
                    <a:pt x="190" y="2410"/>
                  </a:lnTo>
                  <a:lnTo>
                    <a:pt x="116" y="2410"/>
                  </a:lnTo>
                  <a:lnTo>
                    <a:pt x="116" y="2357"/>
                  </a:lnTo>
                  <a:close/>
                  <a:moveTo>
                    <a:pt x="116" y="2441"/>
                  </a:moveTo>
                  <a:lnTo>
                    <a:pt x="190" y="2441"/>
                  </a:lnTo>
                  <a:lnTo>
                    <a:pt x="190" y="2484"/>
                  </a:lnTo>
                  <a:lnTo>
                    <a:pt x="116" y="2484"/>
                  </a:lnTo>
                  <a:lnTo>
                    <a:pt x="116" y="2441"/>
                  </a:lnTo>
                  <a:close/>
                  <a:moveTo>
                    <a:pt x="116" y="2515"/>
                  </a:moveTo>
                  <a:lnTo>
                    <a:pt x="190" y="2515"/>
                  </a:lnTo>
                  <a:lnTo>
                    <a:pt x="190" y="2568"/>
                  </a:lnTo>
                  <a:lnTo>
                    <a:pt x="116" y="2568"/>
                  </a:lnTo>
                  <a:lnTo>
                    <a:pt x="116" y="2515"/>
                  </a:lnTo>
                  <a:close/>
                  <a:moveTo>
                    <a:pt x="116" y="2600"/>
                  </a:moveTo>
                  <a:lnTo>
                    <a:pt x="190" y="2600"/>
                  </a:lnTo>
                  <a:lnTo>
                    <a:pt x="190" y="2642"/>
                  </a:lnTo>
                  <a:lnTo>
                    <a:pt x="116" y="2642"/>
                  </a:lnTo>
                  <a:lnTo>
                    <a:pt x="116" y="2600"/>
                  </a:lnTo>
                  <a:close/>
                  <a:moveTo>
                    <a:pt x="116" y="2674"/>
                  </a:moveTo>
                  <a:lnTo>
                    <a:pt x="190" y="2674"/>
                  </a:lnTo>
                  <a:lnTo>
                    <a:pt x="190" y="2727"/>
                  </a:lnTo>
                  <a:lnTo>
                    <a:pt x="116" y="2727"/>
                  </a:lnTo>
                  <a:lnTo>
                    <a:pt x="116" y="2674"/>
                  </a:lnTo>
                  <a:close/>
                  <a:moveTo>
                    <a:pt x="116" y="2759"/>
                  </a:moveTo>
                  <a:lnTo>
                    <a:pt x="190" y="2759"/>
                  </a:lnTo>
                  <a:lnTo>
                    <a:pt x="190" y="2801"/>
                  </a:lnTo>
                  <a:lnTo>
                    <a:pt x="116" y="2801"/>
                  </a:lnTo>
                  <a:lnTo>
                    <a:pt x="116" y="2759"/>
                  </a:lnTo>
                  <a:close/>
                  <a:moveTo>
                    <a:pt x="116" y="2833"/>
                  </a:moveTo>
                  <a:lnTo>
                    <a:pt x="190" y="2833"/>
                  </a:lnTo>
                  <a:lnTo>
                    <a:pt x="190" y="2885"/>
                  </a:lnTo>
                  <a:lnTo>
                    <a:pt x="116" y="2885"/>
                  </a:lnTo>
                  <a:lnTo>
                    <a:pt x="116" y="2833"/>
                  </a:lnTo>
                  <a:close/>
                  <a:moveTo>
                    <a:pt x="116" y="2917"/>
                  </a:moveTo>
                  <a:lnTo>
                    <a:pt x="190" y="2917"/>
                  </a:lnTo>
                  <a:lnTo>
                    <a:pt x="190" y="2970"/>
                  </a:lnTo>
                  <a:lnTo>
                    <a:pt x="116" y="2970"/>
                  </a:lnTo>
                  <a:lnTo>
                    <a:pt x="116" y="2917"/>
                  </a:lnTo>
                  <a:close/>
                  <a:moveTo>
                    <a:pt x="116" y="3076"/>
                  </a:moveTo>
                  <a:lnTo>
                    <a:pt x="190" y="3076"/>
                  </a:lnTo>
                  <a:lnTo>
                    <a:pt x="190" y="3128"/>
                  </a:lnTo>
                  <a:lnTo>
                    <a:pt x="116" y="3128"/>
                  </a:lnTo>
                  <a:lnTo>
                    <a:pt x="116" y="3076"/>
                  </a:lnTo>
                  <a:close/>
                  <a:moveTo>
                    <a:pt x="116" y="3160"/>
                  </a:moveTo>
                  <a:lnTo>
                    <a:pt x="190" y="3160"/>
                  </a:lnTo>
                  <a:lnTo>
                    <a:pt x="190" y="3202"/>
                  </a:lnTo>
                  <a:lnTo>
                    <a:pt x="116" y="3202"/>
                  </a:lnTo>
                  <a:lnTo>
                    <a:pt x="116" y="3160"/>
                  </a:lnTo>
                  <a:close/>
                </a:path>
              </a:pathLst>
            </a:custGeom>
            <a:solidFill>
              <a:srgbClr val="86BC25"/>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0" name="Freeform 11"/>
            <p:cNvSpPr>
              <a:spLocks noEditPoints="1"/>
            </p:cNvSpPr>
            <p:nvPr/>
          </p:nvSpPr>
          <p:spPr bwMode="auto">
            <a:xfrm>
              <a:off x="5974041" y="3060069"/>
              <a:ext cx="651539" cy="1400796"/>
            </a:xfrm>
            <a:custGeom>
              <a:avLst/>
              <a:gdLst>
                <a:gd name="T0" fmla="*/ 761 w 761"/>
                <a:gd name="T1" fmla="*/ 2199 h 2199"/>
                <a:gd name="T2" fmla="*/ 0 w 761"/>
                <a:gd name="T3" fmla="*/ 0 h 2199"/>
                <a:gd name="T4" fmla="*/ 624 w 761"/>
                <a:gd name="T5" fmla="*/ 243 h 2199"/>
                <a:gd name="T6" fmla="*/ 698 w 761"/>
                <a:gd name="T7" fmla="*/ 539 h 2199"/>
                <a:gd name="T8" fmla="*/ 624 w 761"/>
                <a:gd name="T9" fmla="*/ 243 h 2199"/>
                <a:gd name="T10" fmla="*/ 698 w 761"/>
                <a:gd name="T11" fmla="*/ 952 h 2199"/>
                <a:gd name="T12" fmla="*/ 624 w 761"/>
                <a:gd name="T13" fmla="*/ 1247 h 2199"/>
                <a:gd name="T14" fmla="*/ 624 w 761"/>
                <a:gd name="T15" fmla="*/ 1311 h 2199"/>
                <a:gd name="T16" fmla="*/ 698 w 761"/>
                <a:gd name="T17" fmla="*/ 1607 h 2199"/>
                <a:gd name="T18" fmla="*/ 624 w 761"/>
                <a:gd name="T19" fmla="*/ 1311 h 2199"/>
                <a:gd name="T20" fmla="*/ 698 w 761"/>
                <a:gd name="T21" fmla="*/ 1670 h 2199"/>
                <a:gd name="T22" fmla="*/ 624 w 761"/>
                <a:gd name="T23" fmla="*/ 1966 h 2199"/>
                <a:gd name="T24" fmla="*/ 476 w 761"/>
                <a:gd name="T25" fmla="*/ 243 h 2199"/>
                <a:gd name="T26" fmla="*/ 560 w 761"/>
                <a:gd name="T27" fmla="*/ 539 h 2199"/>
                <a:gd name="T28" fmla="*/ 476 w 761"/>
                <a:gd name="T29" fmla="*/ 243 h 2199"/>
                <a:gd name="T30" fmla="*/ 560 w 761"/>
                <a:gd name="T31" fmla="*/ 603 h 2199"/>
                <a:gd name="T32" fmla="*/ 476 w 761"/>
                <a:gd name="T33" fmla="*/ 899 h 2199"/>
                <a:gd name="T34" fmla="*/ 476 w 761"/>
                <a:gd name="T35" fmla="*/ 952 h 2199"/>
                <a:gd name="T36" fmla="*/ 560 w 761"/>
                <a:gd name="T37" fmla="*/ 1247 h 2199"/>
                <a:gd name="T38" fmla="*/ 476 w 761"/>
                <a:gd name="T39" fmla="*/ 952 h 2199"/>
                <a:gd name="T40" fmla="*/ 560 w 761"/>
                <a:gd name="T41" fmla="*/ 1311 h 2199"/>
                <a:gd name="T42" fmla="*/ 476 w 761"/>
                <a:gd name="T43" fmla="*/ 1607 h 2199"/>
                <a:gd name="T44" fmla="*/ 338 w 761"/>
                <a:gd name="T45" fmla="*/ 243 h 2199"/>
                <a:gd name="T46" fmla="*/ 423 w 761"/>
                <a:gd name="T47" fmla="*/ 539 h 2199"/>
                <a:gd name="T48" fmla="*/ 338 w 761"/>
                <a:gd name="T49" fmla="*/ 243 h 2199"/>
                <a:gd name="T50" fmla="*/ 423 w 761"/>
                <a:gd name="T51" fmla="*/ 952 h 2199"/>
                <a:gd name="T52" fmla="*/ 338 w 761"/>
                <a:gd name="T53" fmla="*/ 1247 h 2199"/>
                <a:gd name="T54" fmla="*/ 338 w 761"/>
                <a:gd name="T55" fmla="*/ 1311 h 2199"/>
                <a:gd name="T56" fmla="*/ 423 w 761"/>
                <a:gd name="T57" fmla="*/ 1607 h 2199"/>
                <a:gd name="T58" fmla="*/ 338 w 761"/>
                <a:gd name="T59" fmla="*/ 1311 h 2199"/>
                <a:gd name="T60" fmla="*/ 423 w 761"/>
                <a:gd name="T61" fmla="*/ 1670 h 2199"/>
                <a:gd name="T62" fmla="*/ 338 w 761"/>
                <a:gd name="T63" fmla="*/ 1966 h 2199"/>
                <a:gd name="T64" fmla="*/ 201 w 761"/>
                <a:gd name="T65" fmla="*/ 243 h 2199"/>
                <a:gd name="T66" fmla="*/ 275 w 761"/>
                <a:gd name="T67" fmla="*/ 539 h 2199"/>
                <a:gd name="T68" fmla="*/ 201 w 761"/>
                <a:gd name="T69" fmla="*/ 243 h 2199"/>
                <a:gd name="T70" fmla="*/ 275 w 761"/>
                <a:gd name="T71" fmla="*/ 603 h 2199"/>
                <a:gd name="T72" fmla="*/ 201 w 761"/>
                <a:gd name="T73" fmla="*/ 899 h 2199"/>
                <a:gd name="T74" fmla="*/ 201 w 761"/>
                <a:gd name="T75" fmla="*/ 952 h 2199"/>
                <a:gd name="T76" fmla="*/ 275 w 761"/>
                <a:gd name="T77" fmla="*/ 1247 h 2199"/>
                <a:gd name="T78" fmla="*/ 201 w 761"/>
                <a:gd name="T79" fmla="*/ 952 h 2199"/>
                <a:gd name="T80" fmla="*/ 275 w 761"/>
                <a:gd name="T81" fmla="*/ 1670 h 2199"/>
                <a:gd name="T82" fmla="*/ 201 w 761"/>
                <a:gd name="T83" fmla="*/ 1966 h 2199"/>
                <a:gd name="T84" fmla="*/ 63 w 761"/>
                <a:gd name="T85" fmla="*/ 603 h 2199"/>
                <a:gd name="T86" fmla="*/ 137 w 761"/>
                <a:gd name="T87" fmla="*/ 899 h 2199"/>
                <a:gd name="T88" fmla="*/ 63 w 761"/>
                <a:gd name="T89" fmla="*/ 603 h 2199"/>
                <a:gd name="T90" fmla="*/ 137 w 761"/>
                <a:gd name="T91" fmla="*/ 952 h 2199"/>
                <a:gd name="T92" fmla="*/ 63 w 761"/>
                <a:gd name="T93" fmla="*/ 1247 h 2199"/>
                <a:gd name="T94" fmla="*/ 63 w 761"/>
                <a:gd name="T95" fmla="*/ 1311 h 2199"/>
                <a:gd name="T96" fmla="*/ 137 w 761"/>
                <a:gd name="T97" fmla="*/ 1607 h 2199"/>
                <a:gd name="T98" fmla="*/ 63 w 761"/>
                <a:gd name="T99" fmla="*/ 1311 h 2199"/>
                <a:gd name="T100" fmla="*/ 137 w 761"/>
                <a:gd name="T101" fmla="*/ 1670 h 2199"/>
                <a:gd name="T102" fmla="*/ 63 w 761"/>
                <a:gd name="T103" fmla="*/ 1966 h 2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1" h="2199">
                  <a:moveTo>
                    <a:pt x="0" y="2199"/>
                  </a:moveTo>
                  <a:lnTo>
                    <a:pt x="761" y="2199"/>
                  </a:lnTo>
                  <a:lnTo>
                    <a:pt x="761" y="0"/>
                  </a:lnTo>
                  <a:lnTo>
                    <a:pt x="0" y="0"/>
                  </a:lnTo>
                  <a:lnTo>
                    <a:pt x="0" y="2199"/>
                  </a:lnTo>
                  <a:close/>
                  <a:moveTo>
                    <a:pt x="624" y="243"/>
                  </a:moveTo>
                  <a:lnTo>
                    <a:pt x="698" y="243"/>
                  </a:lnTo>
                  <a:lnTo>
                    <a:pt x="698" y="539"/>
                  </a:lnTo>
                  <a:lnTo>
                    <a:pt x="624" y="539"/>
                  </a:lnTo>
                  <a:lnTo>
                    <a:pt x="624" y="243"/>
                  </a:lnTo>
                  <a:close/>
                  <a:moveTo>
                    <a:pt x="624" y="952"/>
                  </a:moveTo>
                  <a:lnTo>
                    <a:pt x="698" y="952"/>
                  </a:lnTo>
                  <a:lnTo>
                    <a:pt x="698" y="1247"/>
                  </a:lnTo>
                  <a:lnTo>
                    <a:pt x="624" y="1247"/>
                  </a:lnTo>
                  <a:lnTo>
                    <a:pt x="624" y="952"/>
                  </a:lnTo>
                  <a:close/>
                  <a:moveTo>
                    <a:pt x="624" y="1311"/>
                  </a:moveTo>
                  <a:lnTo>
                    <a:pt x="698" y="1311"/>
                  </a:lnTo>
                  <a:lnTo>
                    <a:pt x="698" y="1607"/>
                  </a:lnTo>
                  <a:lnTo>
                    <a:pt x="624" y="1607"/>
                  </a:lnTo>
                  <a:lnTo>
                    <a:pt x="624" y="1311"/>
                  </a:lnTo>
                  <a:close/>
                  <a:moveTo>
                    <a:pt x="624" y="1670"/>
                  </a:moveTo>
                  <a:lnTo>
                    <a:pt x="698" y="1670"/>
                  </a:lnTo>
                  <a:lnTo>
                    <a:pt x="698" y="1966"/>
                  </a:lnTo>
                  <a:lnTo>
                    <a:pt x="624" y="1966"/>
                  </a:lnTo>
                  <a:lnTo>
                    <a:pt x="624" y="1670"/>
                  </a:lnTo>
                  <a:close/>
                  <a:moveTo>
                    <a:pt x="476" y="243"/>
                  </a:moveTo>
                  <a:lnTo>
                    <a:pt x="560" y="243"/>
                  </a:lnTo>
                  <a:lnTo>
                    <a:pt x="560" y="539"/>
                  </a:lnTo>
                  <a:lnTo>
                    <a:pt x="476" y="539"/>
                  </a:lnTo>
                  <a:lnTo>
                    <a:pt x="476" y="243"/>
                  </a:lnTo>
                  <a:close/>
                  <a:moveTo>
                    <a:pt x="476" y="603"/>
                  </a:moveTo>
                  <a:lnTo>
                    <a:pt x="560" y="603"/>
                  </a:lnTo>
                  <a:lnTo>
                    <a:pt x="560" y="899"/>
                  </a:lnTo>
                  <a:lnTo>
                    <a:pt x="476" y="899"/>
                  </a:lnTo>
                  <a:lnTo>
                    <a:pt x="476" y="603"/>
                  </a:lnTo>
                  <a:close/>
                  <a:moveTo>
                    <a:pt x="476" y="952"/>
                  </a:moveTo>
                  <a:lnTo>
                    <a:pt x="560" y="952"/>
                  </a:lnTo>
                  <a:lnTo>
                    <a:pt x="560" y="1247"/>
                  </a:lnTo>
                  <a:lnTo>
                    <a:pt x="476" y="1247"/>
                  </a:lnTo>
                  <a:lnTo>
                    <a:pt x="476" y="952"/>
                  </a:lnTo>
                  <a:close/>
                  <a:moveTo>
                    <a:pt x="476" y="1311"/>
                  </a:moveTo>
                  <a:lnTo>
                    <a:pt x="560" y="1311"/>
                  </a:lnTo>
                  <a:lnTo>
                    <a:pt x="560" y="1607"/>
                  </a:lnTo>
                  <a:lnTo>
                    <a:pt x="476" y="1607"/>
                  </a:lnTo>
                  <a:lnTo>
                    <a:pt x="476" y="1311"/>
                  </a:lnTo>
                  <a:close/>
                  <a:moveTo>
                    <a:pt x="338" y="243"/>
                  </a:moveTo>
                  <a:lnTo>
                    <a:pt x="423" y="243"/>
                  </a:lnTo>
                  <a:lnTo>
                    <a:pt x="423" y="539"/>
                  </a:lnTo>
                  <a:lnTo>
                    <a:pt x="338" y="539"/>
                  </a:lnTo>
                  <a:lnTo>
                    <a:pt x="338" y="243"/>
                  </a:lnTo>
                  <a:close/>
                  <a:moveTo>
                    <a:pt x="338" y="952"/>
                  </a:moveTo>
                  <a:lnTo>
                    <a:pt x="423" y="952"/>
                  </a:lnTo>
                  <a:lnTo>
                    <a:pt x="423" y="1247"/>
                  </a:lnTo>
                  <a:lnTo>
                    <a:pt x="338" y="1247"/>
                  </a:lnTo>
                  <a:lnTo>
                    <a:pt x="338" y="952"/>
                  </a:lnTo>
                  <a:close/>
                  <a:moveTo>
                    <a:pt x="338" y="1311"/>
                  </a:moveTo>
                  <a:lnTo>
                    <a:pt x="423" y="1311"/>
                  </a:lnTo>
                  <a:lnTo>
                    <a:pt x="423" y="1607"/>
                  </a:lnTo>
                  <a:lnTo>
                    <a:pt x="338" y="1607"/>
                  </a:lnTo>
                  <a:lnTo>
                    <a:pt x="338" y="1311"/>
                  </a:lnTo>
                  <a:close/>
                  <a:moveTo>
                    <a:pt x="338" y="1670"/>
                  </a:moveTo>
                  <a:lnTo>
                    <a:pt x="423" y="1670"/>
                  </a:lnTo>
                  <a:lnTo>
                    <a:pt x="423" y="1966"/>
                  </a:lnTo>
                  <a:lnTo>
                    <a:pt x="338" y="1966"/>
                  </a:lnTo>
                  <a:lnTo>
                    <a:pt x="338" y="1670"/>
                  </a:lnTo>
                  <a:close/>
                  <a:moveTo>
                    <a:pt x="201" y="243"/>
                  </a:moveTo>
                  <a:lnTo>
                    <a:pt x="275" y="243"/>
                  </a:lnTo>
                  <a:lnTo>
                    <a:pt x="275" y="539"/>
                  </a:lnTo>
                  <a:lnTo>
                    <a:pt x="201" y="539"/>
                  </a:lnTo>
                  <a:lnTo>
                    <a:pt x="201" y="243"/>
                  </a:lnTo>
                  <a:close/>
                  <a:moveTo>
                    <a:pt x="201" y="603"/>
                  </a:moveTo>
                  <a:lnTo>
                    <a:pt x="275" y="603"/>
                  </a:lnTo>
                  <a:lnTo>
                    <a:pt x="275" y="899"/>
                  </a:lnTo>
                  <a:lnTo>
                    <a:pt x="201" y="899"/>
                  </a:lnTo>
                  <a:lnTo>
                    <a:pt x="201" y="603"/>
                  </a:lnTo>
                  <a:close/>
                  <a:moveTo>
                    <a:pt x="201" y="952"/>
                  </a:moveTo>
                  <a:lnTo>
                    <a:pt x="275" y="952"/>
                  </a:lnTo>
                  <a:lnTo>
                    <a:pt x="275" y="1247"/>
                  </a:lnTo>
                  <a:lnTo>
                    <a:pt x="201" y="1247"/>
                  </a:lnTo>
                  <a:lnTo>
                    <a:pt x="201" y="952"/>
                  </a:lnTo>
                  <a:close/>
                  <a:moveTo>
                    <a:pt x="201" y="1670"/>
                  </a:moveTo>
                  <a:lnTo>
                    <a:pt x="275" y="1670"/>
                  </a:lnTo>
                  <a:lnTo>
                    <a:pt x="275" y="1966"/>
                  </a:lnTo>
                  <a:lnTo>
                    <a:pt x="201" y="1966"/>
                  </a:lnTo>
                  <a:lnTo>
                    <a:pt x="201" y="1670"/>
                  </a:lnTo>
                  <a:close/>
                  <a:moveTo>
                    <a:pt x="63" y="603"/>
                  </a:moveTo>
                  <a:lnTo>
                    <a:pt x="137" y="603"/>
                  </a:lnTo>
                  <a:lnTo>
                    <a:pt x="137" y="899"/>
                  </a:lnTo>
                  <a:lnTo>
                    <a:pt x="63" y="899"/>
                  </a:lnTo>
                  <a:lnTo>
                    <a:pt x="63" y="603"/>
                  </a:lnTo>
                  <a:close/>
                  <a:moveTo>
                    <a:pt x="63" y="952"/>
                  </a:moveTo>
                  <a:lnTo>
                    <a:pt x="137" y="952"/>
                  </a:lnTo>
                  <a:lnTo>
                    <a:pt x="137" y="1247"/>
                  </a:lnTo>
                  <a:lnTo>
                    <a:pt x="63" y="1247"/>
                  </a:lnTo>
                  <a:lnTo>
                    <a:pt x="63" y="952"/>
                  </a:lnTo>
                  <a:close/>
                  <a:moveTo>
                    <a:pt x="63" y="1311"/>
                  </a:moveTo>
                  <a:lnTo>
                    <a:pt x="137" y="1311"/>
                  </a:lnTo>
                  <a:lnTo>
                    <a:pt x="137" y="1607"/>
                  </a:lnTo>
                  <a:lnTo>
                    <a:pt x="63" y="1607"/>
                  </a:lnTo>
                  <a:lnTo>
                    <a:pt x="63" y="1311"/>
                  </a:lnTo>
                  <a:close/>
                  <a:moveTo>
                    <a:pt x="63" y="1670"/>
                  </a:moveTo>
                  <a:lnTo>
                    <a:pt x="137" y="1670"/>
                  </a:lnTo>
                  <a:lnTo>
                    <a:pt x="137" y="1966"/>
                  </a:lnTo>
                  <a:lnTo>
                    <a:pt x="63" y="1966"/>
                  </a:lnTo>
                  <a:lnTo>
                    <a:pt x="63" y="167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1" name="Freeform 12"/>
            <p:cNvSpPr>
              <a:spLocks noEditPoints="1"/>
            </p:cNvSpPr>
            <p:nvPr/>
          </p:nvSpPr>
          <p:spPr bwMode="auto">
            <a:xfrm>
              <a:off x="4028843" y="3342903"/>
              <a:ext cx="515409" cy="1117962"/>
            </a:xfrm>
            <a:custGeom>
              <a:avLst/>
              <a:gdLst>
                <a:gd name="T0" fmla="*/ 0 w 602"/>
                <a:gd name="T1" fmla="*/ 0 h 1755"/>
                <a:gd name="T2" fmla="*/ 549 w 602"/>
                <a:gd name="T3" fmla="*/ 307 h 1755"/>
                <a:gd name="T4" fmla="*/ 549 w 602"/>
                <a:gd name="T5" fmla="*/ 338 h 1755"/>
                <a:gd name="T6" fmla="*/ 507 w 602"/>
                <a:gd name="T7" fmla="*/ 486 h 1755"/>
                <a:gd name="T8" fmla="*/ 507 w 602"/>
                <a:gd name="T9" fmla="*/ 486 h 1755"/>
                <a:gd name="T10" fmla="*/ 507 w 602"/>
                <a:gd name="T11" fmla="*/ 761 h 1755"/>
                <a:gd name="T12" fmla="*/ 549 w 602"/>
                <a:gd name="T13" fmla="*/ 899 h 1755"/>
                <a:gd name="T14" fmla="*/ 549 w 602"/>
                <a:gd name="T15" fmla="*/ 930 h 1755"/>
                <a:gd name="T16" fmla="*/ 507 w 602"/>
                <a:gd name="T17" fmla="*/ 1068 h 1755"/>
                <a:gd name="T18" fmla="*/ 507 w 602"/>
                <a:gd name="T19" fmla="*/ 1068 h 1755"/>
                <a:gd name="T20" fmla="*/ 507 w 602"/>
                <a:gd name="T21" fmla="*/ 1490 h 1755"/>
                <a:gd name="T22" fmla="*/ 549 w 602"/>
                <a:gd name="T23" fmla="*/ 1628 h 1755"/>
                <a:gd name="T24" fmla="*/ 444 w 602"/>
                <a:gd name="T25" fmla="*/ 201 h 1755"/>
                <a:gd name="T26" fmla="*/ 380 w 602"/>
                <a:gd name="T27" fmla="*/ 486 h 1755"/>
                <a:gd name="T28" fmla="*/ 380 w 602"/>
                <a:gd name="T29" fmla="*/ 486 h 1755"/>
                <a:gd name="T30" fmla="*/ 380 w 602"/>
                <a:gd name="T31" fmla="*/ 761 h 1755"/>
                <a:gd name="T32" fmla="*/ 444 w 602"/>
                <a:gd name="T33" fmla="*/ 1057 h 1755"/>
                <a:gd name="T34" fmla="*/ 444 w 602"/>
                <a:gd name="T35" fmla="*/ 1205 h 1755"/>
                <a:gd name="T36" fmla="*/ 380 w 602"/>
                <a:gd name="T37" fmla="*/ 1353 h 1755"/>
                <a:gd name="T38" fmla="*/ 380 w 602"/>
                <a:gd name="T39" fmla="*/ 1353 h 1755"/>
                <a:gd name="T40" fmla="*/ 274 w 602"/>
                <a:gd name="T41" fmla="*/ 307 h 1755"/>
                <a:gd name="T42" fmla="*/ 338 w 602"/>
                <a:gd name="T43" fmla="*/ 465 h 1755"/>
                <a:gd name="T44" fmla="*/ 338 w 602"/>
                <a:gd name="T45" fmla="*/ 486 h 1755"/>
                <a:gd name="T46" fmla="*/ 274 w 602"/>
                <a:gd name="T47" fmla="*/ 634 h 1755"/>
                <a:gd name="T48" fmla="*/ 274 w 602"/>
                <a:gd name="T49" fmla="*/ 634 h 1755"/>
                <a:gd name="T50" fmla="*/ 274 w 602"/>
                <a:gd name="T51" fmla="*/ 899 h 1755"/>
                <a:gd name="T52" fmla="*/ 338 w 602"/>
                <a:gd name="T53" fmla="*/ 1057 h 1755"/>
                <a:gd name="T54" fmla="*/ 338 w 602"/>
                <a:gd name="T55" fmla="*/ 1068 h 1755"/>
                <a:gd name="T56" fmla="*/ 274 w 602"/>
                <a:gd name="T57" fmla="*/ 1205 h 1755"/>
                <a:gd name="T58" fmla="*/ 274 w 602"/>
                <a:gd name="T59" fmla="*/ 1205 h 1755"/>
                <a:gd name="T60" fmla="*/ 274 w 602"/>
                <a:gd name="T61" fmla="*/ 1490 h 1755"/>
                <a:gd name="T62" fmla="*/ 338 w 602"/>
                <a:gd name="T63" fmla="*/ 1628 h 1755"/>
                <a:gd name="T64" fmla="*/ 232 w 602"/>
                <a:gd name="T65" fmla="*/ 338 h 1755"/>
                <a:gd name="T66" fmla="*/ 169 w 602"/>
                <a:gd name="T67" fmla="*/ 634 h 1755"/>
                <a:gd name="T68" fmla="*/ 169 w 602"/>
                <a:gd name="T69" fmla="*/ 634 h 1755"/>
                <a:gd name="T70" fmla="*/ 169 w 602"/>
                <a:gd name="T71" fmla="*/ 1173 h 1755"/>
                <a:gd name="T72" fmla="*/ 232 w 602"/>
                <a:gd name="T73" fmla="*/ 1490 h 1755"/>
                <a:gd name="T74" fmla="*/ 116 w 602"/>
                <a:gd name="T75" fmla="*/ 201 h 1755"/>
                <a:gd name="T76" fmla="*/ 42 w 602"/>
                <a:gd name="T77" fmla="*/ 338 h 1755"/>
                <a:gd name="T78" fmla="*/ 42 w 602"/>
                <a:gd name="T79" fmla="*/ 338 h 1755"/>
                <a:gd name="T80" fmla="*/ 42 w 602"/>
                <a:gd name="T81" fmla="*/ 603 h 1755"/>
                <a:gd name="T82" fmla="*/ 116 w 602"/>
                <a:gd name="T83" fmla="*/ 761 h 1755"/>
                <a:gd name="T84" fmla="*/ 116 w 602"/>
                <a:gd name="T85" fmla="*/ 772 h 1755"/>
                <a:gd name="T86" fmla="*/ 42 w 602"/>
                <a:gd name="T87" fmla="*/ 930 h 1755"/>
                <a:gd name="T88" fmla="*/ 42 w 602"/>
                <a:gd name="T89" fmla="*/ 930 h 1755"/>
                <a:gd name="T90" fmla="*/ 42 w 602"/>
                <a:gd name="T91" fmla="*/ 1173 h 1755"/>
                <a:gd name="T92" fmla="*/ 116 w 602"/>
                <a:gd name="T93" fmla="*/ 1490 h 1755"/>
                <a:gd name="T94" fmla="*/ 116 w 602"/>
                <a:gd name="T95" fmla="*/ 1501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02" h="1755">
                  <a:moveTo>
                    <a:pt x="0" y="1755"/>
                  </a:moveTo>
                  <a:lnTo>
                    <a:pt x="602" y="1755"/>
                  </a:lnTo>
                  <a:lnTo>
                    <a:pt x="602" y="0"/>
                  </a:lnTo>
                  <a:lnTo>
                    <a:pt x="0" y="0"/>
                  </a:lnTo>
                  <a:lnTo>
                    <a:pt x="0" y="1755"/>
                  </a:lnTo>
                  <a:close/>
                  <a:moveTo>
                    <a:pt x="507" y="201"/>
                  </a:moveTo>
                  <a:lnTo>
                    <a:pt x="549" y="201"/>
                  </a:lnTo>
                  <a:lnTo>
                    <a:pt x="549" y="307"/>
                  </a:lnTo>
                  <a:lnTo>
                    <a:pt x="507" y="307"/>
                  </a:lnTo>
                  <a:lnTo>
                    <a:pt x="507" y="201"/>
                  </a:lnTo>
                  <a:close/>
                  <a:moveTo>
                    <a:pt x="507" y="338"/>
                  </a:moveTo>
                  <a:lnTo>
                    <a:pt x="549" y="338"/>
                  </a:lnTo>
                  <a:lnTo>
                    <a:pt x="549" y="465"/>
                  </a:lnTo>
                  <a:lnTo>
                    <a:pt x="507" y="465"/>
                  </a:lnTo>
                  <a:lnTo>
                    <a:pt x="507" y="338"/>
                  </a:lnTo>
                  <a:close/>
                  <a:moveTo>
                    <a:pt x="507" y="486"/>
                  </a:moveTo>
                  <a:lnTo>
                    <a:pt x="549" y="486"/>
                  </a:lnTo>
                  <a:lnTo>
                    <a:pt x="549" y="603"/>
                  </a:lnTo>
                  <a:lnTo>
                    <a:pt x="507" y="603"/>
                  </a:lnTo>
                  <a:lnTo>
                    <a:pt x="507" y="486"/>
                  </a:lnTo>
                  <a:close/>
                  <a:moveTo>
                    <a:pt x="507" y="634"/>
                  </a:moveTo>
                  <a:lnTo>
                    <a:pt x="549" y="634"/>
                  </a:lnTo>
                  <a:lnTo>
                    <a:pt x="549" y="761"/>
                  </a:lnTo>
                  <a:lnTo>
                    <a:pt x="507" y="761"/>
                  </a:lnTo>
                  <a:lnTo>
                    <a:pt x="507" y="634"/>
                  </a:lnTo>
                  <a:close/>
                  <a:moveTo>
                    <a:pt x="507" y="772"/>
                  </a:moveTo>
                  <a:lnTo>
                    <a:pt x="549" y="772"/>
                  </a:lnTo>
                  <a:lnTo>
                    <a:pt x="549" y="899"/>
                  </a:lnTo>
                  <a:lnTo>
                    <a:pt x="507" y="899"/>
                  </a:lnTo>
                  <a:lnTo>
                    <a:pt x="507" y="772"/>
                  </a:lnTo>
                  <a:close/>
                  <a:moveTo>
                    <a:pt x="507" y="930"/>
                  </a:moveTo>
                  <a:lnTo>
                    <a:pt x="549" y="930"/>
                  </a:lnTo>
                  <a:lnTo>
                    <a:pt x="549" y="1057"/>
                  </a:lnTo>
                  <a:lnTo>
                    <a:pt x="507" y="1057"/>
                  </a:lnTo>
                  <a:lnTo>
                    <a:pt x="507" y="930"/>
                  </a:lnTo>
                  <a:close/>
                  <a:moveTo>
                    <a:pt x="507" y="1068"/>
                  </a:moveTo>
                  <a:lnTo>
                    <a:pt x="549" y="1068"/>
                  </a:lnTo>
                  <a:lnTo>
                    <a:pt x="549" y="1173"/>
                  </a:lnTo>
                  <a:lnTo>
                    <a:pt x="507" y="1173"/>
                  </a:lnTo>
                  <a:lnTo>
                    <a:pt x="507" y="1068"/>
                  </a:lnTo>
                  <a:close/>
                  <a:moveTo>
                    <a:pt x="507" y="1353"/>
                  </a:moveTo>
                  <a:lnTo>
                    <a:pt x="549" y="1353"/>
                  </a:lnTo>
                  <a:lnTo>
                    <a:pt x="549" y="1490"/>
                  </a:lnTo>
                  <a:lnTo>
                    <a:pt x="507" y="1490"/>
                  </a:lnTo>
                  <a:lnTo>
                    <a:pt x="507" y="1353"/>
                  </a:lnTo>
                  <a:close/>
                  <a:moveTo>
                    <a:pt x="507" y="1501"/>
                  </a:moveTo>
                  <a:lnTo>
                    <a:pt x="549" y="1501"/>
                  </a:lnTo>
                  <a:lnTo>
                    <a:pt x="549" y="1628"/>
                  </a:lnTo>
                  <a:lnTo>
                    <a:pt x="507" y="1628"/>
                  </a:lnTo>
                  <a:lnTo>
                    <a:pt x="507" y="1501"/>
                  </a:lnTo>
                  <a:close/>
                  <a:moveTo>
                    <a:pt x="380" y="201"/>
                  </a:moveTo>
                  <a:lnTo>
                    <a:pt x="444" y="201"/>
                  </a:lnTo>
                  <a:lnTo>
                    <a:pt x="444" y="307"/>
                  </a:lnTo>
                  <a:lnTo>
                    <a:pt x="380" y="307"/>
                  </a:lnTo>
                  <a:lnTo>
                    <a:pt x="380" y="201"/>
                  </a:lnTo>
                  <a:close/>
                  <a:moveTo>
                    <a:pt x="380" y="486"/>
                  </a:moveTo>
                  <a:lnTo>
                    <a:pt x="444" y="486"/>
                  </a:lnTo>
                  <a:lnTo>
                    <a:pt x="444" y="603"/>
                  </a:lnTo>
                  <a:lnTo>
                    <a:pt x="380" y="603"/>
                  </a:lnTo>
                  <a:lnTo>
                    <a:pt x="380" y="486"/>
                  </a:lnTo>
                  <a:close/>
                  <a:moveTo>
                    <a:pt x="380" y="634"/>
                  </a:moveTo>
                  <a:lnTo>
                    <a:pt x="444" y="634"/>
                  </a:lnTo>
                  <a:lnTo>
                    <a:pt x="444" y="761"/>
                  </a:lnTo>
                  <a:lnTo>
                    <a:pt x="380" y="761"/>
                  </a:lnTo>
                  <a:lnTo>
                    <a:pt x="380" y="634"/>
                  </a:lnTo>
                  <a:close/>
                  <a:moveTo>
                    <a:pt x="380" y="930"/>
                  </a:moveTo>
                  <a:lnTo>
                    <a:pt x="444" y="930"/>
                  </a:lnTo>
                  <a:lnTo>
                    <a:pt x="444" y="1057"/>
                  </a:lnTo>
                  <a:lnTo>
                    <a:pt x="380" y="1057"/>
                  </a:lnTo>
                  <a:lnTo>
                    <a:pt x="380" y="930"/>
                  </a:lnTo>
                  <a:close/>
                  <a:moveTo>
                    <a:pt x="380" y="1205"/>
                  </a:moveTo>
                  <a:lnTo>
                    <a:pt x="444" y="1205"/>
                  </a:lnTo>
                  <a:lnTo>
                    <a:pt x="444" y="1332"/>
                  </a:lnTo>
                  <a:lnTo>
                    <a:pt x="380" y="1332"/>
                  </a:lnTo>
                  <a:lnTo>
                    <a:pt x="380" y="1205"/>
                  </a:lnTo>
                  <a:close/>
                  <a:moveTo>
                    <a:pt x="380" y="1353"/>
                  </a:moveTo>
                  <a:lnTo>
                    <a:pt x="444" y="1353"/>
                  </a:lnTo>
                  <a:lnTo>
                    <a:pt x="444" y="1490"/>
                  </a:lnTo>
                  <a:lnTo>
                    <a:pt x="380" y="1490"/>
                  </a:lnTo>
                  <a:lnTo>
                    <a:pt x="380" y="1353"/>
                  </a:lnTo>
                  <a:close/>
                  <a:moveTo>
                    <a:pt x="274" y="201"/>
                  </a:moveTo>
                  <a:lnTo>
                    <a:pt x="338" y="201"/>
                  </a:lnTo>
                  <a:lnTo>
                    <a:pt x="338" y="307"/>
                  </a:lnTo>
                  <a:lnTo>
                    <a:pt x="274" y="307"/>
                  </a:lnTo>
                  <a:lnTo>
                    <a:pt x="274" y="201"/>
                  </a:lnTo>
                  <a:close/>
                  <a:moveTo>
                    <a:pt x="274" y="338"/>
                  </a:moveTo>
                  <a:lnTo>
                    <a:pt x="338" y="338"/>
                  </a:lnTo>
                  <a:lnTo>
                    <a:pt x="338" y="465"/>
                  </a:lnTo>
                  <a:lnTo>
                    <a:pt x="274" y="465"/>
                  </a:lnTo>
                  <a:lnTo>
                    <a:pt x="274" y="338"/>
                  </a:lnTo>
                  <a:close/>
                  <a:moveTo>
                    <a:pt x="274" y="486"/>
                  </a:moveTo>
                  <a:lnTo>
                    <a:pt x="338" y="486"/>
                  </a:lnTo>
                  <a:lnTo>
                    <a:pt x="338" y="603"/>
                  </a:lnTo>
                  <a:lnTo>
                    <a:pt x="274" y="603"/>
                  </a:lnTo>
                  <a:lnTo>
                    <a:pt x="274" y="486"/>
                  </a:lnTo>
                  <a:close/>
                  <a:moveTo>
                    <a:pt x="274" y="634"/>
                  </a:moveTo>
                  <a:lnTo>
                    <a:pt x="338" y="634"/>
                  </a:lnTo>
                  <a:lnTo>
                    <a:pt x="338" y="761"/>
                  </a:lnTo>
                  <a:lnTo>
                    <a:pt x="274" y="761"/>
                  </a:lnTo>
                  <a:lnTo>
                    <a:pt x="274" y="634"/>
                  </a:lnTo>
                  <a:close/>
                  <a:moveTo>
                    <a:pt x="274" y="772"/>
                  </a:moveTo>
                  <a:lnTo>
                    <a:pt x="338" y="772"/>
                  </a:lnTo>
                  <a:lnTo>
                    <a:pt x="338" y="899"/>
                  </a:lnTo>
                  <a:lnTo>
                    <a:pt x="274" y="899"/>
                  </a:lnTo>
                  <a:lnTo>
                    <a:pt x="274" y="772"/>
                  </a:lnTo>
                  <a:close/>
                  <a:moveTo>
                    <a:pt x="274" y="930"/>
                  </a:moveTo>
                  <a:lnTo>
                    <a:pt x="338" y="930"/>
                  </a:lnTo>
                  <a:lnTo>
                    <a:pt x="338" y="1057"/>
                  </a:lnTo>
                  <a:lnTo>
                    <a:pt x="274" y="1057"/>
                  </a:lnTo>
                  <a:lnTo>
                    <a:pt x="274" y="930"/>
                  </a:lnTo>
                  <a:close/>
                  <a:moveTo>
                    <a:pt x="274" y="1068"/>
                  </a:moveTo>
                  <a:lnTo>
                    <a:pt x="338" y="1068"/>
                  </a:lnTo>
                  <a:lnTo>
                    <a:pt x="338" y="1173"/>
                  </a:lnTo>
                  <a:lnTo>
                    <a:pt x="274" y="1173"/>
                  </a:lnTo>
                  <a:lnTo>
                    <a:pt x="274" y="1068"/>
                  </a:lnTo>
                  <a:close/>
                  <a:moveTo>
                    <a:pt x="274" y="1205"/>
                  </a:moveTo>
                  <a:lnTo>
                    <a:pt x="338" y="1205"/>
                  </a:lnTo>
                  <a:lnTo>
                    <a:pt x="338" y="1332"/>
                  </a:lnTo>
                  <a:lnTo>
                    <a:pt x="274" y="1332"/>
                  </a:lnTo>
                  <a:lnTo>
                    <a:pt x="274" y="1205"/>
                  </a:lnTo>
                  <a:close/>
                  <a:moveTo>
                    <a:pt x="274" y="1353"/>
                  </a:moveTo>
                  <a:lnTo>
                    <a:pt x="338" y="1353"/>
                  </a:lnTo>
                  <a:lnTo>
                    <a:pt x="338" y="1490"/>
                  </a:lnTo>
                  <a:lnTo>
                    <a:pt x="274" y="1490"/>
                  </a:lnTo>
                  <a:lnTo>
                    <a:pt x="274" y="1353"/>
                  </a:lnTo>
                  <a:close/>
                  <a:moveTo>
                    <a:pt x="274" y="1501"/>
                  </a:moveTo>
                  <a:lnTo>
                    <a:pt x="338" y="1501"/>
                  </a:lnTo>
                  <a:lnTo>
                    <a:pt x="338" y="1628"/>
                  </a:lnTo>
                  <a:lnTo>
                    <a:pt x="274" y="1628"/>
                  </a:lnTo>
                  <a:lnTo>
                    <a:pt x="274" y="1501"/>
                  </a:lnTo>
                  <a:close/>
                  <a:moveTo>
                    <a:pt x="169" y="338"/>
                  </a:moveTo>
                  <a:lnTo>
                    <a:pt x="232" y="338"/>
                  </a:lnTo>
                  <a:lnTo>
                    <a:pt x="232" y="465"/>
                  </a:lnTo>
                  <a:lnTo>
                    <a:pt x="169" y="465"/>
                  </a:lnTo>
                  <a:lnTo>
                    <a:pt x="169" y="338"/>
                  </a:lnTo>
                  <a:close/>
                  <a:moveTo>
                    <a:pt x="169" y="634"/>
                  </a:moveTo>
                  <a:lnTo>
                    <a:pt x="232" y="634"/>
                  </a:lnTo>
                  <a:lnTo>
                    <a:pt x="232" y="761"/>
                  </a:lnTo>
                  <a:lnTo>
                    <a:pt x="169" y="761"/>
                  </a:lnTo>
                  <a:lnTo>
                    <a:pt x="169" y="634"/>
                  </a:lnTo>
                  <a:close/>
                  <a:moveTo>
                    <a:pt x="169" y="1068"/>
                  </a:moveTo>
                  <a:lnTo>
                    <a:pt x="232" y="1068"/>
                  </a:lnTo>
                  <a:lnTo>
                    <a:pt x="232" y="1173"/>
                  </a:lnTo>
                  <a:lnTo>
                    <a:pt x="169" y="1173"/>
                  </a:lnTo>
                  <a:lnTo>
                    <a:pt x="169" y="1068"/>
                  </a:lnTo>
                  <a:close/>
                  <a:moveTo>
                    <a:pt x="169" y="1353"/>
                  </a:moveTo>
                  <a:lnTo>
                    <a:pt x="232" y="1353"/>
                  </a:lnTo>
                  <a:lnTo>
                    <a:pt x="232" y="1490"/>
                  </a:lnTo>
                  <a:lnTo>
                    <a:pt x="169" y="1490"/>
                  </a:lnTo>
                  <a:lnTo>
                    <a:pt x="169" y="1353"/>
                  </a:lnTo>
                  <a:close/>
                  <a:moveTo>
                    <a:pt x="42" y="201"/>
                  </a:moveTo>
                  <a:lnTo>
                    <a:pt x="116" y="201"/>
                  </a:lnTo>
                  <a:lnTo>
                    <a:pt x="116" y="307"/>
                  </a:lnTo>
                  <a:lnTo>
                    <a:pt x="42" y="307"/>
                  </a:lnTo>
                  <a:lnTo>
                    <a:pt x="42" y="201"/>
                  </a:lnTo>
                  <a:close/>
                  <a:moveTo>
                    <a:pt x="42" y="338"/>
                  </a:moveTo>
                  <a:lnTo>
                    <a:pt x="116" y="338"/>
                  </a:lnTo>
                  <a:lnTo>
                    <a:pt x="116" y="465"/>
                  </a:lnTo>
                  <a:lnTo>
                    <a:pt x="42" y="465"/>
                  </a:lnTo>
                  <a:lnTo>
                    <a:pt x="42" y="338"/>
                  </a:lnTo>
                  <a:close/>
                  <a:moveTo>
                    <a:pt x="42" y="486"/>
                  </a:moveTo>
                  <a:lnTo>
                    <a:pt x="116" y="486"/>
                  </a:lnTo>
                  <a:lnTo>
                    <a:pt x="116" y="603"/>
                  </a:lnTo>
                  <a:lnTo>
                    <a:pt x="42" y="603"/>
                  </a:lnTo>
                  <a:lnTo>
                    <a:pt x="42" y="486"/>
                  </a:lnTo>
                  <a:close/>
                  <a:moveTo>
                    <a:pt x="42" y="634"/>
                  </a:moveTo>
                  <a:lnTo>
                    <a:pt x="116" y="634"/>
                  </a:lnTo>
                  <a:lnTo>
                    <a:pt x="116" y="761"/>
                  </a:lnTo>
                  <a:lnTo>
                    <a:pt x="42" y="761"/>
                  </a:lnTo>
                  <a:lnTo>
                    <a:pt x="42" y="634"/>
                  </a:lnTo>
                  <a:close/>
                  <a:moveTo>
                    <a:pt x="42" y="772"/>
                  </a:moveTo>
                  <a:lnTo>
                    <a:pt x="116" y="772"/>
                  </a:lnTo>
                  <a:lnTo>
                    <a:pt x="116" y="899"/>
                  </a:lnTo>
                  <a:lnTo>
                    <a:pt x="42" y="899"/>
                  </a:lnTo>
                  <a:lnTo>
                    <a:pt x="42" y="772"/>
                  </a:lnTo>
                  <a:close/>
                  <a:moveTo>
                    <a:pt x="42" y="930"/>
                  </a:moveTo>
                  <a:lnTo>
                    <a:pt x="116" y="930"/>
                  </a:lnTo>
                  <a:lnTo>
                    <a:pt x="116" y="1057"/>
                  </a:lnTo>
                  <a:lnTo>
                    <a:pt x="42" y="1057"/>
                  </a:lnTo>
                  <a:lnTo>
                    <a:pt x="42" y="930"/>
                  </a:lnTo>
                  <a:close/>
                  <a:moveTo>
                    <a:pt x="42" y="1068"/>
                  </a:moveTo>
                  <a:lnTo>
                    <a:pt x="116" y="1068"/>
                  </a:lnTo>
                  <a:lnTo>
                    <a:pt x="116" y="1173"/>
                  </a:lnTo>
                  <a:lnTo>
                    <a:pt x="42" y="1173"/>
                  </a:lnTo>
                  <a:lnTo>
                    <a:pt x="42" y="1068"/>
                  </a:lnTo>
                  <a:close/>
                  <a:moveTo>
                    <a:pt x="42" y="1353"/>
                  </a:moveTo>
                  <a:lnTo>
                    <a:pt x="116" y="1353"/>
                  </a:lnTo>
                  <a:lnTo>
                    <a:pt x="116" y="1490"/>
                  </a:lnTo>
                  <a:lnTo>
                    <a:pt x="42" y="1490"/>
                  </a:lnTo>
                  <a:lnTo>
                    <a:pt x="42" y="1353"/>
                  </a:lnTo>
                  <a:close/>
                  <a:moveTo>
                    <a:pt x="42" y="1501"/>
                  </a:moveTo>
                  <a:lnTo>
                    <a:pt x="116" y="1501"/>
                  </a:lnTo>
                  <a:lnTo>
                    <a:pt x="116" y="1628"/>
                  </a:lnTo>
                  <a:lnTo>
                    <a:pt x="42" y="1628"/>
                  </a:lnTo>
                  <a:lnTo>
                    <a:pt x="42" y="1501"/>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2" name="Freeform 13"/>
            <p:cNvSpPr>
              <a:spLocks noEditPoints="1"/>
            </p:cNvSpPr>
            <p:nvPr/>
          </p:nvSpPr>
          <p:spPr bwMode="auto">
            <a:xfrm>
              <a:off x="7403830" y="2326227"/>
              <a:ext cx="461471" cy="2134638"/>
            </a:xfrm>
            <a:custGeom>
              <a:avLst/>
              <a:gdLst>
                <a:gd name="T0" fmla="*/ 539 w 539"/>
                <a:gd name="T1" fmla="*/ 3351 h 3351"/>
                <a:gd name="T2" fmla="*/ 0 w 539"/>
                <a:gd name="T3" fmla="*/ 0 h 3351"/>
                <a:gd name="T4" fmla="*/ 63 w 539"/>
                <a:gd name="T5" fmla="*/ 476 h 3351"/>
                <a:gd name="T6" fmla="*/ 486 w 539"/>
                <a:gd name="T7" fmla="*/ 539 h 3351"/>
                <a:gd name="T8" fmla="*/ 63 w 539"/>
                <a:gd name="T9" fmla="*/ 476 h 3351"/>
                <a:gd name="T10" fmla="*/ 486 w 539"/>
                <a:gd name="T11" fmla="*/ 603 h 3351"/>
                <a:gd name="T12" fmla="*/ 63 w 539"/>
                <a:gd name="T13" fmla="*/ 666 h 3351"/>
                <a:gd name="T14" fmla="*/ 63 w 539"/>
                <a:gd name="T15" fmla="*/ 730 h 3351"/>
                <a:gd name="T16" fmla="*/ 486 w 539"/>
                <a:gd name="T17" fmla="*/ 793 h 3351"/>
                <a:gd name="T18" fmla="*/ 63 w 539"/>
                <a:gd name="T19" fmla="*/ 730 h 3351"/>
                <a:gd name="T20" fmla="*/ 486 w 539"/>
                <a:gd name="T21" fmla="*/ 856 h 3351"/>
                <a:gd name="T22" fmla="*/ 63 w 539"/>
                <a:gd name="T23" fmla="*/ 920 h 3351"/>
                <a:gd name="T24" fmla="*/ 63 w 539"/>
                <a:gd name="T25" fmla="*/ 983 h 3351"/>
                <a:gd name="T26" fmla="*/ 486 w 539"/>
                <a:gd name="T27" fmla="*/ 1047 h 3351"/>
                <a:gd name="T28" fmla="*/ 63 w 539"/>
                <a:gd name="T29" fmla="*/ 983 h 3351"/>
                <a:gd name="T30" fmla="*/ 486 w 539"/>
                <a:gd name="T31" fmla="*/ 1110 h 3351"/>
                <a:gd name="T32" fmla="*/ 63 w 539"/>
                <a:gd name="T33" fmla="*/ 1174 h 3351"/>
                <a:gd name="T34" fmla="*/ 63 w 539"/>
                <a:gd name="T35" fmla="*/ 1226 h 3351"/>
                <a:gd name="T36" fmla="*/ 486 w 539"/>
                <a:gd name="T37" fmla="*/ 1290 h 3351"/>
                <a:gd name="T38" fmla="*/ 63 w 539"/>
                <a:gd name="T39" fmla="*/ 1226 h 3351"/>
                <a:gd name="T40" fmla="*/ 486 w 539"/>
                <a:gd name="T41" fmla="*/ 1353 h 3351"/>
                <a:gd name="T42" fmla="*/ 63 w 539"/>
                <a:gd name="T43" fmla="*/ 1417 h 3351"/>
                <a:gd name="T44" fmla="*/ 63 w 539"/>
                <a:gd name="T45" fmla="*/ 1607 h 3351"/>
                <a:gd name="T46" fmla="*/ 486 w 539"/>
                <a:gd name="T47" fmla="*/ 1670 h 3351"/>
                <a:gd name="T48" fmla="*/ 63 w 539"/>
                <a:gd name="T49" fmla="*/ 1607 h 3351"/>
                <a:gd name="T50" fmla="*/ 486 w 539"/>
                <a:gd name="T51" fmla="*/ 1734 h 3351"/>
                <a:gd name="T52" fmla="*/ 63 w 539"/>
                <a:gd name="T53" fmla="*/ 1797 h 3351"/>
                <a:gd name="T54" fmla="*/ 63 w 539"/>
                <a:gd name="T55" fmla="*/ 1860 h 3351"/>
                <a:gd name="T56" fmla="*/ 486 w 539"/>
                <a:gd name="T57" fmla="*/ 1924 h 3351"/>
                <a:gd name="T58" fmla="*/ 63 w 539"/>
                <a:gd name="T59" fmla="*/ 1860 h 3351"/>
                <a:gd name="T60" fmla="*/ 486 w 539"/>
                <a:gd name="T61" fmla="*/ 1987 h 3351"/>
                <a:gd name="T62" fmla="*/ 63 w 539"/>
                <a:gd name="T63" fmla="*/ 2051 h 3351"/>
                <a:gd name="T64" fmla="*/ 63 w 539"/>
                <a:gd name="T65" fmla="*/ 2114 h 3351"/>
                <a:gd name="T66" fmla="*/ 486 w 539"/>
                <a:gd name="T67" fmla="*/ 2178 h 3351"/>
                <a:gd name="T68" fmla="*/ 63 w 539"/>
                <a:gd name="T69" fmla="*/ 2114 h 3351"/>
                <a:gd name="T70" fmla="*/ 486 w 539"/>
                <a:gd name="T71" fmla="*/ 2241 h 3351"/>
                <a:gd name="T72" fmla="*/ 63 w 539"/>
                <a:gd name="T73" fmla="*/ 2304 h 3351"/>
                <a:gd name="T74" fmla="*/ 63 w 539"/>
                <a:gd name="T75" fmla="*/ 2357 h 3351"/>
                <a:gd name="T76" fmla="*/ 486 w 539"/>
                <a:gd name="T77" fmla="*/ 2421 h 3351"/>
                <a:gd name="T78" fmla="*/ 63 w 539"/>
                <a:gd name="T79" fmla="*/ 2357 h 3351"/>
                <a:gd name="T80" fmla="*/ 486 w 539"/>
                <a:gd name="T81" fmla="*/ 2484 h 3351"/>
                <a:gd name="T82" fmla="*/ 63 w 539"/>
                <a:gd name="T83" fmla="*/ 2547 h 3351"/>
                <a:gd name="T84" fmla="*/ 63 w 539"/>
                <a:gd name="T85" fmla="*/ 2738 h 3351"/>
                <a:gd name="T86" fmla="*/ 486 w 539"/>
                <a:gd name="T87" fmla="*/ 2801 h 3351"/>
                <a:gd name="T88" fmla="*/ 63 w 539"/>
                <a:gd name="T89" fmla="*/ 2738 h 3351"/>
                <a:gd name="T90" fmla="*/ 486 w 539"/>
                <a:gd name="T91" fmla="*/ 2865 h 3351"/>
                <a:gd name="T92" fmla="*/ 63 w 539"/>
                <a:gd name="T93" fmla="*/ 2928 h 3351"/>
                <a:gd name="T94" fmla="*/ 63 w 539"/>
                <a:gd name="T95" fmla="*/ 2991 h 3351"/>
                <a:gd name="T96" fmla="*/ 486 w 539"/>
                <a:gd name="T97" fmla="*/ 3055 h 3351"/>
                <a:gd name="T98" fmla="*/ 63 w 539"/>
                <a:gd name="T99" fmla="*/ 2991 h 3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9" h="3351">
                  <a:moveTo>
                    <a:pt x="0" y="3351"/>
                  </a:moveTo>
                  <a:lnTo>
                    <a:pt x="539" y="3351"/>
                  </a:lnTo>
                  <a:lnTo>
                    <a:pt x="539" y="286"/>
                  </a:lnTo>
                  <a:lnTo>
                    <a:pt x="0" y="0"/>
                  </a:lnTo>
                  <a:lnTo>
                    <a:pt x="0" y="3351"/>
                  </a:lnTo>
                  <a:close/>
                  <a:moveTo>
                    <a:pt x="63" y="476"/>
                  </a:moveTo>
                  <a:lnTo>
                    <a:pt x="486" y="476"/>
                  </a:lnTo>
                  <a:lnTo>
                    <a:pt x="486" y="539"/>
                  </a:lnTo>
                  <a:lnTo>
                    <a:pt x="63" y="539"/>
                  </a:lnTo>
                  <a:lnTo>
                    <a:pt x="63" y="476"/>
                  </a:lnTo>
                  <a:close/>
                  <a:moveTo>
                    <a:pt x="63" y="603"/>
                  </a:moveTo>
                  <a:lnTo>
                    <a:pt x="486" y="603"/>
                  </a:lnTo>
                  <a:lnTo>
                    <a:pt x="486" y="666"/>
                  </a:lnTo>
                  <a:lnTo>
                    <a:pt x="63" y="666"/>
                  </a:lnTo>
                  <a:lnTo>
                    <a:pt x="63" y="603"/>
                  </a:lnTo>
                  <a:close/>
                  <a:moveTo>
                    <a:pt x="63" y="730"/>
                  </a:moveTo>
                  <a:lnTo>
                    <a:pt x="486" y="730"/>
                  </a:lnTo>
                  <a:lnTo>
                    <a:pt x="486" y="793"/>
                  </a:lnTo>
                  <a:lnTo>
                    <a:pt x="63" y="793"/>
                  </a:lnTo>
                  <a:lnTo>
                    <a:pt x="63" y="730"/>
                  </a:lnTo>
                  <a:close/>
                  <a:moveTo>
                    <a:pt x="63" y="856"/>
                  </a:moveTo>
                  <a:lnTo>
                    <a:pt x="486" y="856"/>
                  </a:lnTo>
                  <a:lnTo>
                    <a:pt x="486" y="920"/>
                  </a:lnTo>
                  <a:lnTo>
                    <a:pt x="63" y="920"/>
                  </a:lnTo>
                  <a:lnTo>
                    <a:pt x="63" y="856"/>
                  </a:lnTo>
                  <a:close/>
                  <a:moveTo>
                    <a:pt x="63" y="983"/>
                  </a:moveTo>
                  <a:lnTo>
                    <a:pt x="486" y="983"/>
                  </a:lnTo>
                  <a:lnTo>
                    <a:pt x="486" y="1047"/>
                  </a:lnTo>
                  <a:lnTo>
                    <a:pt x="63" y="1047"/>
                  </a:lnTo>
                  <a:lnTo>
                    <a:pt x="63" y="983"/>
                  </a:lnTo>
                  <a:close/>
                  <a:moveTo>
                    <a:pt x="63" y="1110"/>
                  </a:moveTo>
                  <a:lnTo>
                    <a:pt x="486" y="1110"/>
                  </a:lnTo>
                  <a:lnTo>
                    <a:pt x="486" y="1174"/>
                  </a:lnTo>
                  <a:lnTo>
                    <a:pt x="63" y="1174"/>
                  </a:lnTo>
                  <a:lnTo>
                    <a:pt x="63" y="1110"/>
                  </a:lnTo>
                  <a:close/>
                  <a:moveTo>
                    <a:pt x="63" y="1226"/>
                  </a:moveTo>
                  <a:lnTo>
                    <a:pt x="486" y="1226"/>
                  </a:lnTo>
                  <a:lnTo>
                    <a:pt x="486" y="1290"/>
                  </a:lnTo>
                  <a:lnTo>
                    <a:pt x="63" y="1290"/>
                  </a:lnTo>
                  <a:lnTo>
                    <a:pt x="63" y="1226"/>
                  </a:lnTo>
                  <a:close/>
                  <a:moveTo>
                    <a:pt x="63" y="1353"/>
                  </a:moveTo>
                  <a:lnTo>
                    <a:pt x="486" y="1353"/>
                  </a:lnTo>
                  <a:lnTo>
                    <a:pt x="486" y="1417"/>
                  </a:lnTo>
                  <a:lnTo>
                    <a:pt x="63" y="1417"/>
                  </a:lnTo>
                  <a:lnTo>
                    <a:pt x="63" y="1353"/>
                  </a:lnTo>
                  <a:close/>
                  <a:moveTo>
                    <a:pt x="63" y="1607"/>
                  </a:moveTo>
                  <a:lnTo>
                    <a:pt x="486" y="1607"/>
                  </a:lnTo>
                  <a:lnTo>
                    <a:pt x="486" y="1670"/>
                  </a:lnTo>
                  <a:lnTo>
                    <a:pt x="63" y="1670"/>
                  </a:lnTo>
                  <a:lnTo>
                    <a:pt x="63" y="1607"/>
                  </a:lnTo>
                  <a:close/>
                  <a:moveTo>
                    <a:pt x="63" y="1734"/>
                  </a:moveTo>
                  <a:lnTo>
                    <a:pt x="486" y="1734"/>
                  </a:lnTo>
                  <a:lnTo>
                    <a:pt x="486" y="1797"/>
                  </a:lnTo>
                  <a:lnTo>
                    <a:pt x="63" y="1797"/>
                  </a:lnTo>
                  <a:lnTo>
                    <a:pt x="63" y="1734"/>
                  </a:lnTo>
                  <a:close/>
                  <a:moveTo>
                    <a:pt x="63" y="1860"/>
                  </a:moveTo>
                  <a:lnTo>
                    <a:pt x="486" y="1860"/>
                  </a:lnTo>
                  <a:lnTo>
                    <a:pt x="486" y="1924"/>
                  </a:lnTo>
                  <a:lnTo>
                    <a:pt x="63" y="1924"/>
                  </a:lnTo>
                  <a:lnTo>
                    <a:pt x="63" y="1860"/>
                  </a:lnTo>
                  <a:close/>
                  <a:moveTo>
                    <a:pt x="63" y="1987"/>
                  </a:moveTo>
                  <a:lnTo>
                    <a:pt x="486" y="1987"/>
                  </a:lnTo>
                  <a:lnTo>
                    <a:pt x="486" y="2051"/>
                  </a:lnTo>
                  <a:lnTo>
                    <a:pt x="63" y="2051"/>
                  </a:lnTo>
                  <a:lnTo>
                    <a:pt x="63" y="1987"/>
                  </a:lnTo>
                  <a:close/>
                  <a:moveTo>
                    <a:pt x="63" y="2114"/>
                  </a:moveTo>
                  <a:lnTo>
                    <a:pt x="486" y="2114"/>
                  </a:lnTo>
                  <a:lnTo>
                    <a:pt x="486" y="2178"/>
                  </a:lnTo>
                  <a:lnTo>
                    <a:pt x="63" y="2178"/>
                  </a:lnTo>
                  <a:lnTo>
                    <a:pt x="63" y="2114"/>
                  </a:lnTo>
                  <a:close/>
                  <a:moveTo>
                    <a:pt x="63" y="2241"/>
                  </a:moveTo>
                  <a:lnTo>
                    <a:pt x="486" y="2241"/>
                  </a:lnTo>
                  <a:lnTo>
                    <a:pt x="486" y="2304"/>
                  </a:lnTo>
                  <a:lnTo>
                    <a:pt x="63" y="2304"/>
                  </a:lnTo>
                  <a:lnTo>
                    <a:pt x="63" y="2241"/>
                  </a:lnTo>
                  <a:close/>
                  <a:moveTo>
                    <a:pt x="63" y="2357"/>
                  </a:moveTo>
                  <a:lnTo>
                    <a:pt x="486" y="2357"/>
                  </a:lnTo>
                  <a:lnTo>
                    <a:pt x="486" y="2421"/>
                  </a:lnTo>
                  <a:lnTo>
                    <a:pt x="63" y="2421"/>
                  </a:lnTo>
                  <a:lnTo>
                    <a:pt x="63" y="2357"/>
                  </a:lnTo>
                  <a:close/>
                  <a:moveTo>
                    <a:pt x="63" y="2484"/>
                  </a:moveTo>
                  <a:lnTo>
                    <a:pt x="486" y="2484"/>
                  </a:lnTo>
                  <a:lnTo>
                    <a:pt x="486" y="2547"/>
                  </a:lnTo>
                  <a:lnTo>
                    <a:pt x="63" y="2547"/>
                  </a:lnTo>
                  <a:lnTo>
                    <a:pt x="63" y="2484"/>
                  </a:lnTo>
                  <a:close/>
                  <a:moveTo>
                    <a:pt x="63" y="2738"/>
                  </a:moveTo>
                  <a:lnTo>
                    <a:pt x="486" y="2738"/>
                  </a:lnTo>
                  <a:lnTo>
                    <a:pt x="486" y="2801"/>
                  </a:lnTo>
                  <a:lnTo>
                    <a:pt x="63" y="2801"/>
                  </a:lnTo>
                  <a:lnTo>
                    <a:pt x="63" y="2738"/>
                  </a:lnTo>
                  <a:close/>
                  <a:moveTo>
                    <a:pt x="63" y="2865"/>
                  </a:moveTo>
                  <a:lnTo>
                    <a:pt x="486" y="2865"/>
                  </a:lnTo>
                  <a:lnTo>
                    <a:pt x="486" y="2928"/>
                  </a:lnTo>
                  <a:lnTo>
                    <a:pt x="63" y="2928"/>
                  </a:lnTo>
                  <a:lnTo>
                    <a:pt x="63" y="2865"/>
                  </a:lnTo>
                  <a:close/>
                  <a:moveTo>
                    <a:pt x="63" y="2991"/>
                  </a:moveTo>
                  <a:lnTo>
                    <a:pt x="486" y="2991"/>
                  </a:lnTo>
                  <a:lnTo>
                    <a:pt x="486" y="3055"/>
                  </a:lnTo>
                  <a:lnTo>
                    <a:pt x="63" y="3055"/>
                  </a:lnTo>
                  <a:lnTo>
                    <a:pt x="63" y="2991"/>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3" name="Freeform 14"/>
            <p:cNvSpPr>
              <a:spLocks noEditPoints="1"/>
            </p:cNvSpPr>
            <p:nvPr/>
          </p:nvSpPr>
          <p:spPr bwMode="auto">
            <a:xfrm>
              <a:off x="8598176" y="3754415"/>
              <a:ext cx="479450" cy="706450"/>
            </a:xfrm>
            <a:custGeom>
              <a:avLst/>
              <a:gdLst>
                <a:gd name="T0" fmla="*/ 0 w 560"/>
                <a:gd name="T1" fmla="*/ 1109 h 1109"/>
                <a:gd name="T2" fmla="*/ 560 w 560"/>
                <a:gd name="T3" fmla="*/ 0 h 1109"/>
                <a:gd name="T4" fmla="*/ 243 w 560"/>
                <a:gd name="T5" fmla="*/ 866 h 1109"/>
                <a:gd name="T6" fmla="*/ 63 w 560"/>
                <a:gd name="T7" fmla="*/ 813 h 1109"/>
                <a:gd name="T8" fmla="*/ 243 w 560"/>
                <a:gd name="T9" fmla="*/ 866 h 1109"/>
                <a:gd name="T10" fmla="*/ 63 w 560"/>
                <a:gd name="T11" fmla="*/ 739 h 1109"/>
                <a:gd name="T12" fmla="*/ 243 w 560"/>
                <a:gd name="T13" fmla="*/ 697 h 1109"/>
                <a:gd name="T14" fmla="*/ 243 w 560"/>
                <a:gd name="T15" fmla="*/ 613 h 1109"/>
                <a:gd name="T16" fmla="*/ 63 w 560"/>
                <a:gd name="T17" fmla="*/ 570 h 1109"/>
                <a:gd name="T18" fmla="*/ 243 w 560"/>
                <a:gd name="T19" fmla="*/ 613 h 1109"/>
                <a:gd name="T20" fmla="*/ 63 w 560"/>
                <a:gd name="T21" fmla="*/ 496 h 1109"/>
                <a:gd name="T22" fmla="*/ 243 w 560"/>
                <a:gd name="T23" fmla="*/ 443 h 1109"/>
                <a:gd name="T24" fmla="*/ 243 w 560"/>
                <a:gd name="T25" fmla="*/ 369 h 1109"/>
                <a:gd name="T26" fmla="*/ 63 w 560"/>
                <a:gd name="T27" fmla="*/ 317 h 1109"/>
                <a:gd name="T28" fmla="*/ 243 w 560"/>
                <a:gd name="T29" fmla="*/ 369 h 1109"/>
                <a:gd name="T30" fmla="*/ 63 w 560"/>
                <a:gd name="T31" fmla="*/ 243 h 1109"/>
                <a:gd name="T32" fmla="*/ 243 w 560"/>
                <a:gd name="T33" fmla="*/ 200 h 1109"/>
                <a:gd name="T34" fmla="*/ 243 w 560"/>
                <a:gd name="T35" fmla="*/ 116 h 1109"/>
                <a:gd name="T36" fmla="*/ 63 w 560"/>
                <a:gd name="T37" fmla="*/ 74 h 1109"/>
                <a:gd name="T38" fmla="*/ 243 w 560"/>
                <a:gd name="T39" fmla="*/ 116 h 1109"/>
                <a:gd name="T40" fmla="*/ 317 w 560"/>
                <a:gd name="T41" fmla="*/ 866 h 1109"/>
                <a:gd name="T42" fmla="*/ 497 w 560"/>
                <a:gd name="T43" fmla="*/ 813 h 1109"/>
                <a:gd name="T44" fmla="*/ 497 w 560"/>
                <a:gd name="T45" fmla="*/ 739 h 1109"/>
                <a:gd name="T46" fmla="*/ 317 w 560"/>
                <a:gd name="T47" fmla="*/ 697 h 1109"/>
                <a:gd name="T48" fmla="*/ 497 w 560"/>
                <a:gd name="T49" fmla="*/ 739 h 1109"/>
                <a:gd name="T50" fmla="*/ 317 w 560"/>
                <a:gd name="T51" fmla="*/ 613 h 1109"/>
                <a:gd name="T52" fmla="*/ 497 w 560"/>
                <a:gd name="T53" fmla="*/ 570 h 1109"/>
                <a:gd name="T54" fmla="*/ 497 w 560"/>
                <a:gd name="T55" fmla="*/ 496 h 1109"/>
                <a:gd name="T56" fmla="*/ 317 w 560"/>
                <a:gd name="T57" fmla="*/ 443 h 1109"/>
                <a:gd name="T58" fmla="*/ 497 w 560"/>
                <a:gd name="T59" fmla="*/ 496 h 1109"/>
                <a:gd name="T60" fmla="*/ 317 w 560"/>
                <a:gd name="T61" fmla="*/ 369 h 1109"/>
                <a:gd name="T62" fmla="*/ 497 w 560"/>
                <a:gd name="T63" fmla="*/ 317 h 1109"/>
                <a:gd name="T64" fmla="*/ 497 w 560"/>
                <a:gd name="T65" fmla="*/ 243 h 1109"/>
                <a:gd name="T66" fmla="*/ 317 w 560"/>
                <a:gd name="T67" fmla="*/ 200 h 1109"/>
                <a:gd name="T68" fmla="*/ 497 w 560"/>
                <a:gd name="T69" fmla="*/ 243 h 1109"/>
                <a:gd name="T70" fmla="*/ 317 w 560"/>
                <a:gd name="T71" fmla="*/ 116 h 1109"/>
                <a:gd name="T72" fmla="*/ 497 w 560"/>
                <a:gd name="T73" fmla="*/ 74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0" h="1109">
                  <a:moveTo>
                    <a:pt x="0" y="0"/>
                  </a:moveTo>
                  <a:lnTo>
                    <a:pt x="0" y="1109"/>
                  </a:lnTo>
                  <a:lnTo>
                    <a:pt x="560" y="1109"/>
                  </a:lnTo>
                  <a:lnTo>
                    <a:pt x="560" y="0"/>
                  </a:lnTo>
                  <a:lnTo>
                    <a:pt x="0" y="0"/>
                  </a:lnTo>
                  <a:close/>
                  <a:moveTo>
                    <a:pt x="243" y="866"/>
                  </a:moveTo>
                  <a:lnTo>
                    <a:pt x="63" y="866"/>
                  </a:lnTo>
                  <a:lnTo>
                    <a:pt x="63" y="813"/>
                  </a:lnTo>
                  <a:lnTo>
                    <a:pt x="243" y="813"/>
                  </a:lnTo>
                  <a:lnTo>
                    <a:pt x="243" y="866"/>
                  </a:lnTo>
                  <a:close/>
                  <a:moveTo>
                    <a:pt x="243" y="739"/>
                  </a:moveTo>
                  <a:lnTo>
                    <a:pt x="63" y="739"/>
                  </a:lnTo>
                  <a:lnTo>
                    <a:pt x="63" y="697"/>
                  </a:lnTo>
                  <a:lnTo>
                    <a:pt x="243" y="697"/>
                  </a:lnTo>
                  <a:lnTo>
                    <a:pt x="243" y="739"/>
                  </a:lnTo>
                  <a:close/>
                  <a:moveTo>
                    <a:pt x="243" y="613"/>
                  </a:moveTo>
                  <a:lnTo>
                    <a:pt x="63" y="613"/>
                  </a:lnTo>
                  <a:lnTo>
                    <a:pt x="63" y="570"/>
                  </a:lnTo>
                  <a:lnTo>
                    <a:pt x="243" y="570"/>
                  </a:lnTo>
                  <a:lnTo>
                    <a:pt x="243" y="613"/>
                  </a:lnTo>
                  <a:close/>
                  <a:moveTo>
                    <a:pt x="243" y="496"/>
                  </a:moveTo>
                  <a:lnTo>
                    <a:pt x="63" y="496"/>
                  </a:lnTo>
                  <a:lnTo>
                    <a:pt x="63" y="443"/>
                  </a:lnTo>
                  <a:lnTo>
                    <a:pt x="243" y="443"/>
                  </a:lnTo>
                  <a:lnTo>
                    <a:pt x="243" y="496"/>
                  </a:lnTo>
                  <a:close/>
                  <a:moveTo>
                    <a:pt x="243" y="369"/>
                  </a:moveTo>
                  <a:lnTo>
                    <a:pt x="63" y="369"/>
                  </a:lnTo>
                  <a:lnTo>
                    <a:pt x="63" y="317"/>
                  </a:lnTo>
                  <a:lnTo>
                    <a:pt x="243" y="317"/>
                  </a:lnTo>
                  <a:lnTo>
                    <a:pt x="243" y="369"/>
                  </a:lnTo>
                  <a:close/>
                  <a:moveTo>
                    <a:pt x="243" y="243"/>
                  </a:moveTo>
                  <a:lnTo>
                    <a:pt x="63" y="243"/>
                  </a:lnTo>
                  <a:lnTo>
                    <a:pt x="63" y="200"/>
                  </a:lnTo>
                  <a:lnTo>
                    <a:pt x="243" y="200"/>
                  </a:lnTo>
                  <a:lnTo>
                    <a:pt x="243" y="243"/>
                  </a:lnTo>
                  <a:close/>
                  <a:moveTo>
                    <a:pt x="243" y="116"/>
                  </a:moveTo>
                  <a:lnTo>
                    <a:pt x="63" y="116"/>
                  </a:lnTo>
                  <a:lnTo>
                    <a:pt x="63" y="74"/>
                  </a:lnTo>
                  <a:lnTo>
                    <a:pt x="243" y="74"/>
                  </a:lnTo>
                  <a:lnTo>
                    <a:pt x="243" y="116"/>
                  </a:lnTo>
                  <a:close/>
                  <a:moveTo>
                    <a:pt x="497" y="866"/>
                  </a:moveTo>
                  <a:lnTo>
                    <a:pt x="317" y="866"/>
                  </a:lnTo>
                  <a:lnTo>
                    <a:pt x="317" y="813"/>
                  </a:lnTo>
                  <a:lnTo>
                    <a:pt x="497" y="813"/>
                  </a:lnTo>
                  <a:lnTo>
                    <a:pt x="497" y="866"/>
                  </a:lnTo>
                  <a:close/>
                  <a:moveTo>
                    <a:pt x="497" y="739"/>
                  </a:moveTo>
                  <a:lnTo>
                    <a:pt x="317" y="739"/>
                  </a:lnTo>
                  <a:lnTo>
                    <a:pt x="317" y="697"/>
                  </a:lnTo>
                  <a:lnTo>
                    <a:pt x="497" y="697"/>
                  </a:lnTo>
                  <a:lnTo>
                    <a:pt x="497" y="739"/>
                  </a:lnTo>
                  <a:close/>
                  <a:moveTo>
                    <a:pt x="497" y="613"/>
                  </a:moveTo>
                  <a:lnTo>
                    <a:pt x="317" y="613"/>
                  </a:lnTo>
                  <a:lnTo>
                    <a:pt x="317" y="570"/>
                  </a:lnTo>
                  <a:lnTo>
                    <a:pt x="497" y="570"/>
                  </a:lnTo>
                  <a:lnTo>
                    <a:pt x="497" y="613"/>
                  </a:lnTo>
                  <a:close/>
                  <a:moveTo>
                    <a:pt x="497" y="496"/>
                  </a:moveTo>
                  <a:lnTo>
                    <a:pt x="317" y="496"/>
                  </a:lnTo>
                  <a:lnTo>
                    <a:pt x="317" y="443"/>
                  </a:lnTo>
                  <a:lnTo>
                    <a:pt x="497" y="443"/>
                  </a:lnTo>
                  <a:lnTo>
                    <a:pt x="497" y="496"/>
                  </a:lnTo>
                  <a:close/>
                  <a:moveTo>
                    <a:pt x="497" y="369"/>
                  </a:moveTo>
                  <a:lnTo>
                    <a:pt x="317" y="369"/>
                  </a:lnTo>
                  <a:lnTo>
                    <a:pt x="317" y="317"/>
                  </a:lnTo>
                  <a:lnTo>
                    <a:pt x="497" y="317"/>
                  </a:lnTo>
                  <a:lnTo>
                    <a:pt x="497" y="369"/>
                  </a:lnTo>
                  <a:close/>
                  <a:moveTo>
                    <a:pt x="497" y="243"/>
                  </a:moveTo>
                  <a:lnTo>
                    <a:pt x="317" y="243"/>
                  </a:lnTo>
                  <a:lnTo>
                    <a:pt x="317" y="200"/>
                  </a:lnTo>
                  <a:lnTo>
                    <a:pt x="497" y="200"/>
                  </a:lnTo>
                  <a:lnTo>
                    <a:pt x="497" y="243"/>
                  </a:lnTo>
                  <a:close/>
                  <a:moveTo>
                    <a:pt x="497" y="116"/>
                  </a:moveTo>
                  <a:lnTo>
                    <a:pt x="317" y="116"/>
                  </a:lnTo>
                  <a:lnTo>
                    <a:pt x="317" y="74"/>
                  </a:lnTo>
                  <a:lnTo>
                    <a:pt x="497" y="74"/>
                  </a:lnTo>
                  <a:lnTo>
                    <a:pt x="497" y="116"/>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94" name="Freeform 15"/>
            <p:cNvSpPr>
              <a:spLocks noEditPoints="1"/>
            </p:cNvSpPr>
            <p:nvPr/>
          </p:nvSpPr>
          <p:spPr bwMode="auto">
            <a:xfrm>
              <a:off x="2951792" y="3754415"/>
              <a:ext cx="479450" cy="706450"/>
            </a:xfrm>
            <a:custGeom>
              <a:avLst/>
              <a:gdLst>
                <a:gd name="T0" fmla="*/ 560 w 560"/>
                <a:gd name="T1" fmla="*/ 1109 h 1109"/>
                <a:gd name="T2" fmla="*/ 0 w 560"/>
                <a:gd name="T3" fmla="*/ 0 h 1109"/>
                <a:gd name="T4" fmla="*/ 370 w 560"/>
                <a:gd name="T5" fmla="*/ 74 h 1109"/>
                <a:gd name="T6" fmla="*/ 476 w 560"/>
                <a:gd name="T7" fmla="*/ 116 h 1109"/>
                <a:gd name="T8" fmla="*/ 370 w 560"/>
                <a:gd name="T9" fmla="*/ 74 h 1109"/>
                <a:gd name="T10" fmla="*/ 476 w 560"/>
                <a:gd name="T11" fmla="*/ 200 h 1109"/>
                <a:gd name="T12" fmla="*/ 370 w 560"/>
                <a:gd name="T13" fmla="*/ 243 h 1109"/>
                <a:gd name="T14" fmla="*/ 370 w 560"/>
                <a:gd name="T15" fmla="*/ 443 h 1109"/>
                <a:gd name="T16" fmla="*/ 476 w 560"/>
                <a:gd name="T17" fmla="*/ 496 h 1109"/>
                <a:gd name="T18" fmla="*/ 370 w 560"/>
                <a:gd name="T19" fmla="*/ 443 h 1109"/>
                <a:gd name="T20" fmla="*/ 476 w 560"/>
                <a:gd name="T21" fmla="*/ 570 h 1109"/>
                <a:gd name="T22" fmla="*/ 370 w 560"/>
                <a:gd name="T23" fmla="*/ 613 h 1109"/>
                <a:gd name="T24" fmla="*/ 370 w 560"/>
                <a:gd name="T25" fmla="*/ 697 h 1109"/>
                <a:gd name="T26" fmla="*/ 476 w 560"/>
                <a:gd name="T27" fmla="*/ 739 h 1109"/>
                <a:gd name="T28" fmla="*/ 370 w 560"/>
                <a:gd name="T29" fmla="*/ 697 h 1109"/>
                <a:gd name="T30" fmla="*/ 328 w 560"/>
                <a:gd name="T31" fmla="*/ 74 h 1109"/>
                <a:gd name="T32" fmla="*/ 222 w 560"/>
                <a:gd name="T33" fmla="*/ 116 h 1109"/>
                <a:gd name="T34" fmla="*/ 222 w 560"/>
                <a:gd name="T35" fmla="*/ 200 h 1109"/>
                <a:gd name="T36" fmla="*/ 328 w 560"/>
                <a:gd name="T37" fmla="*/ 243 h 1109"/>
                <a:gd name="T38" fmla="*/ 222 w 560"/>
                <a:gd name="T39" fmla="*/ 200 h 1109"/>
                <a:gd name="T40" fmla="*/ 328 w 560"/>
                <a:gd name="T41" fmla="*/ 317 h 1109"/>
                <a:gd name="T42" fmla="*/ 222 w 560"/>
                <a:gd name="T43" fmla="*/ 369 h 1109"/>
                <a:gd name="T44" fmla="*/ 222 w 560"/>
                <a:gd name="T45" fmla="*/ 443 h 1109"/>
                <a:gd name="T46" fmla="*/ 328 w 560"/>
                <a:gd name="T47" fmla="*/ 496 h 1109"/>
                <a:gd name="T48" fmla="*/ 222 w 560"/>
                <a:gd name="T49" fmla="*/ 443 h 1109"/>
                <a:gd name="T50" fmla="*/ 328 w 560"/>
                <a:gd name="T51" fmla="*/ 570 h 1109"/>
                <a:gd name="T52" fmla="*/ 222 w 560"/>
                <a:gd name="T53" fmla="*/ 613 h 1109"/>
                <a:gd name="T54" fmla="*/ 222 w 560"/>
                <a:gd name="T55" fmla="*/ 697 h 1109"/>
                <a:gd name="T56" fmla="*/ 328 w 560"/>
                <a:gd name="T57" fmla="*/ 739 h 1109"/>
                <a:gd name="T58" fmla="*/ 222 w 560"/>
                <a:gd name="T59" fmla="*/ 697 h 1109"/>
                <a:gd name="T60" fmla="*/ 328 w 560"/>
                <a:gd name="T61" fmla="*/ 813 h 1109"/>
                <a:gd name="T62" fmla="*/ 222 w 560"/>
                <a:gd name="T63" fmla="*/ 866 h 1109"/>
                <a:gd name="T64" fmla="*/ 74 w 560"/>
                <a:gd name="T65" fmla="*/ 74 h 1109"/>
                <a:gd name="T66" fmla="*/ 180 w 560"/>
                <a:gd name="T67" fmla="*/ 116 h 1109"/>
                <a:gd name="T68" fmla="*/ 74 w 560"/>
                <a:gd name="T69" fmla="*/ 74 h 1109"/>
                <a:gd name="T70" fmla="*/ 180 w 560"/>
                <a:gd name="T71" fmla="*/ 317 h 1109"/>
                <a:gd name="T72" fmla="*/ 74 w 560"/>
                <a:gd name="T73" fmla="*/ 369 h 1109"/>
                <a:gd name="T74" fmla="*/ 74 w 560"/>
                <a:gd name="T75" fmla="*/ 443 h 1109"/>
                <a:gd name="T76" fmla="*/ 180 w 560"/>
                <a:gd name="T77" fmla="*/ 496 h 1109"/>
                <a:gd name="T78" fmla="*/ 74 w 560"/>
                <a:gd name="T79" fmla="*/ 443 h 1109"/>
                <a:gd name="T80" fmla="*/ 180 w 560"/>
                <a:gd name="T81" fmla="*/ 697 h 1109"/>
                <a:gd name="T82" fmla="*/ 74 w 560"/>
                <a:gd name="T83" fmla="*/ 739 h 1109"/>
                <a:gd name="T84" fmla="*/ 74 w 560"/>
                <a:gd name="T85" fmla="*/ 813 h 1109"/>
                <a:gd name="T86" fmla="*/ 180 w 560"/>
                <a:gd name="T87" fmla="*/ 866 h 1109"/>
                <a:gd name="T88" fmla="*/ 74 w 560"/>
                <a:gd name="T89" fmla="*/ 813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0" h="1109">
                  <a:moveTo>
                    <a:pt x="0" y="1109"/>
                  </a:moveTo>
                  <a:lnTo>
                    <a:pt x="560" y="1109"/>
                  </a:lnTo>
                  <a:lnTo>
                    <a:pt x="560" y="0"/>
                  </a:lnTo>
                  <a:lnTo>
                    <a:pt x="0" y="0"/>
                  </a:lnTo>
                  <a:lnTo>
                    <a:pt x="0" y="1109"/>
                  </a:lnTo>
                  <a:close/>
                  <a:moveTo>
                    <a:pt x="370" y="74"/>
                  </a:moveTo>
                  <a:lnTo>
                    <a:pt x="476" y="74"/>
                  </a:lnTo>
                  <a:lnTo>
                    <a:pt x="476" y="116"/>
                  </a:lnTo>
                  <a:lnTo>
                    <a:pt x="370" y="116"/>
                  </a:lnTo>
                  <a:lnTo>
                    <a:pt x="370" y="74"/>
                  </a:lnTo>
                  <a:close/>
                  <a:moveTo>
                    <a:pt x="370" y="200"/>
                  </a:moveTo>
                  <a:lnTo>
                    <a:pt x="476" y="200"/>
                  </a:lnTo>
                  <a:lnTo>
                    <a:pt x="476" y="243"/>
                  </a:lnTo>
                  <a:lnTo>
                    <a:pt x="370" y="243"/>
                  </a:lnTo>
                  <a:lnTo>
                    <a:pt x="370" y="200"/>
                  </a:lnTo>
                  <a:close/>
                  <a:moveTo>
                    <a:pt x="370" y="443"/>
                  </a:moveTo>
                  <a:lnTo>
                    <a:pt x="476" y="443"/>
                  </a:lnTo>
                  <a:lnTo>
                    <a:pt x="476" y="496"/>
                  </a:lnTo>
                  <a:lnTo>
                    <a:pt x="370" y="496"/>
                  </a:lnTo>
                  <a:lnTo>
                    <a:pt x="370" y="443"/>
                  </a:lnTo>
                  <a:close/>
                  <a:moveTo>
                    <a:pt x="370" y="570"/>
                  </a:moveTo>
                  <a:lnTo>
                    <a:pt x="476" y="570"/>
                  </a:lnTo>
                  <a:lnTo>
                    <a:pt x="476" y="613"/>
                  </a:lnTo>
                  <a:lnTo>
                    <a:pt x="370" y="613"/>
                  </a:lnTo>
                  <a:lnTo>
                    <a:pt x="370" y="570"/>
                  </a:lnTo>
                  <a:close/>
                  <a:moveTo>
                    <a:pt x="370" y="697"/>
                  </a:moveTo>
                  <a:lnTo>
                    <a:pt x="476" y="697"/>
                  </a:lnTo>
                  <a:lnTo>
                    <a:pt x="476" y="739"/>
                  </a:lnTo>
                  <a:lnTo>
                    <a:pt x="370" y="739"/>
                  </a:lnTo>
                  <a:lnTo>
                    <a:pt x="370" y="697"/>
                  </a:lnTo>
                  <a:close/>
                  <a:moveTo>
                    <a:pt x="222" y="74"/>
                  </a:moveTo>
                  <a:lnTo>
                    <a:pt x="328" y="74"/>
                  </a:lnTo>
                  <a:lnTo>
                    <a:pt x="328" y="116"/>
                  </a:lnTo>
                  <a:lnTo>
                    <a:pt x="222" y="116"/>
                  </a:lnTo>
                  <a:lnTo>
                    <a:pt x="222" y="74"/>
                  </a:lnTo>
                  <a:close/>
                  <a:moveTo>
                    <a:pt x="222" y="200"/>
                  </a:moveTo>
                  <a:lnTo>
                    <a:pt x="328" y="200"/>
                  </a:lnTo>
                  <a:lnTo>
                    <a:pt x="328" y="243"/>
                  </a:lnTo>
                  <a:lnTo>
                    <a:pt x="222" y="243"/>
                  </a:lnTo>
                  <a:lnTo>
                    <a:pt x="222" y="200"/>
                  </a:lnTo>
                  <a:close/>
                  <a:moveTo>
                    <a:pt x="222" y="317"/>
                  </a:moveTo>
                  <a:lnTo>
                    <a:pt x="328" y="317"/>
                  </a:lnTo>
                  <a:lnTo>
                    <a:pt x="328" y="369"/>
                  </a:lnTo>
                  <a:lnTo>
                    <a:pt x="222" y="369"/>
                  </a:lnTo>
                  <a:lnTo>
                    <a:pt x="222" y="317"/>
                  </a:lnTo>
                  <a:close/>
                  <a:moveTo>
                    <a:pt x="222" y="443"/>
                  </a:moveTo>
                  <a:lnTo>
                    <a:pt x="328" y="443"/>
                  </a:lnTo>
                  <a:lnTo>
                    <a:pt x="328" y="496"/>
                  </a:lnTo>
                  <a:lnTo>
                    <a:pt x="222" y="496"/>
                  </a:lnTo>
                  <a:lnTo>
                    <a:pt x="222" y="443"/>
                  </a:lnTo>
                  <a:close/>
                  <a:moveTo>
                    <a:pt x="222" y="570"/>
                  </a:moveTo>
                  <a:lnTo>
                    <a:pt x="328" y="570"/>
                  </a:lnTo>
                  <a:lnTo>
                    <a:pt x="328" y="613"/>
                  </a:lnTo>
                  <a:lnTo>
                    <a:pt x="222" y="613"/>
                  </a:lnTo>
                  <a:lnTo>
                    <a:pt x="222" y="570"/>
                  </a:lnTo>
                  <a:close/>
                  <a:moveTo>
                    <a:pt x="222" y="697"/>
                  </a:moveTo>
                  <a:lnTo>
                    <a:pt x="328" y="697"/>
                  </a:lnTo>
                  <a:lnTo>
                    <a:pt x="328" y="739"/>
                  </a:lnTo>
                  <a:lnTo>
                    <a:pt x="222" y="739"/>
                  </a:lnTo>
                  <a:lnTo>
                    <a:pt x="222" y="697"/>
                  </a:lnTo>
                  <a:close/>
                  <a:moveTo>
                    <a:pt x="222" y="813"/>
                  </a:moveTo>
                  <a:lnTo>
                    <a:pt x="328" y="813"/>
                  </a:lnTo>
                  <a:lnTo>
                    <a:pt x="328" y="866"/>
                  </a:lnTo>
                  <a:lnTo>
                    <a:pt x="222" y="866"/>
                  </a:lnTo>
                  <a:lnTo>
                    <a:pt x="222" y="813"/>
                  </a:lnTo>
                  <a:close/>
                  <a:moveTo>
                    <a:pt x="74" y="74"/>
                  </a:moveTo>
                  <a:lnTo>
                    <a:pt x="180" y="74"/>
                  </a:lnTo>
                  <a:lnTo>
                    <a:pt x="180" y="116"/>
                  </a:lnTo>
                  <a:lnTo>
                    <a:pt x="74" y="116"/>
                  </a:lnTo>
                  <a:lnTo>
                    <a:pt x="74" y="74"/>
                  </a:lnTo>
                  <a:close/>
                  <a:moveTo>
                    <a:pt x="74" y="317"/>
                  </a:moveTo>
                  <a:lnTo>
                    <a:pt x="180" y="317"/>
                  </a:lnTo>
                  <a:lnTo>
                    <a:pt x="180" y="369"/>
                  </a:lnTo>
                  <a:lnTo>
                    <a:pt x="74" y="369"/>
                  </a:lnTo>
                  <a:lnTo>
                    <a:pt x="74" y="317"/>
                  </a:lnTo>
                  <a:close/>
                  <a:moveTo>
                    <a:pt x="74" y="443"/>
                  </a:moveTo>
                  <a:lnTo>
                    <a:pt x="180" y="443"/>
                  </a:lnTo>
                  <a:lnTo>
                    <a:pt x="180" y="496"/>
                  </a:lnTo>
                  <a:lnTo>
                    <a:pt x="74" y="496"/>
                  </a:lnTo>
                  <a:lnTo>
                    <a:pt x="74" y="443"/>
                  </a:lnTo>
                  <a:close/>
                  <a:moveTo>
                    <a:pt x="74" y="697"/>
                  </a:moveTo>
                  <a:lnTo>
                    <a:pt x="180" y="697"/>
                  </a:lnTo>
                  <a:lnTo>
                    <a:pt x="180" y="739"/>
                  </a:lnTo>
                  <a:lnTo>
                    <a:pt x="74" y="739"/>
                  </a:lnTo>
                  <a:lnTo>
                    <a:pt x="74" y="697"/>
                  </a:lnTo>
                  <a:close/>
                  <a:moveTo>
                    <a:pt x="74" y="813"/>
                  </a:moveTo>
                  <a:lnTo>
                    <a:pt x="180" y="813"/>
                  </a:lnTo>
                  <a:lnTo>
                    <a:pt x="180" y="866"/>
                  </a:lnTo>
                  <a:lnTo>
                    <a:pt x="74" y="866"/>
                  </a:lnTo>
                  <a:lnTo>
                    <a:pt x="74" y="813"/>
                  </a:lnTo>
                  <a:close/>
                </a:path>
              </a:pathLst>
            </a:custGeom>
            <a:solidFill>
              <a:srgbClr val="43B02A"/>
            </a:solidFill>
            <a:ln>
              <a:noFill/>
            </a:ln>
          </p:spPr>
          <p:txBody>
            <a:bodyPr vert="horz" wrap="square" lIns="45720" tIns="22860" rIns="45720" bIns="22860" numCol="1" anchor="t" anchorCtr="0" compatLnSpc="1">
              <a:prstTxWarp prst="textNoShape">
                <a:avLst/>
              </a:prstTxWarp>
            </a:bodyPr>
            <a:lstStyle/>
            <a:p>
              <a:endParaRPr lang="th-TH" sz="900"/>
            </a:p>
          </p:txBody>
        </p:sp>
      </p:grpSp>
      <p:sp>
        <p:nvSpPr>
          <p:cNvPr id="95" name="Rectangle 16"/>
          <p:cNvSpPr>
            <a:spLocks noChangeArrowheads="1"/>
          </p:cNvSpPr>
          <p:nvPr/>
        </p:nvSpPr>
        <p:spPr bwMode="auto">
          <a:xfrm>
            <a:off x="472463" y="5182558"/>
            <a:ext cx="11248481" cy="68593"/>
          </a:xfrm>
          <a:prstGeom prst="rect">
            <a:avLst/>
          </a:prstGeom>
          <a:solidFill>
            <a:srgbClr val="FFFFFF"/>
          </a:solidFill>
          <a:ln>
            <a:noFill/>
          </a:ln>
        </p:spPr>
        <p:txBody>
          <a:bodyPr vert="horz" wrap="square" lIns="45720" tIns="22860" rIns="45720" bIns="22860" numCol="1" anchor="t" anchorCtr="0" compatLnSpc="1">
            <a:prstTxWarp prst="textNoShape">
              <a:avLst/>
            </a:prstTxWarp>
          </a:bodyPr>
          <a:lstStyle/>
          <a:p>
            <a:endParaRPr lang="th-TH" sz="900"/>
          </a:p>
        </p:txBody>
      </p:sp>
      <p:sp>
        <p:nvSpPr>
          <p:cNvPr id="4" name="TextBox 3">
            <a:extLst>
              <a:ext uri="{FF2B5EF4-FFF2-40B4-BE49-F238E27FC236}">
                <a16:creationId xmlns:a16="http://schemas.microsoft.com/office/drawing/2014/main" id="{72AB9911-A7D1-35CD-CFF7-D7A4B6101910}"/>
              </a:ext>
            </a:extLst>
          </p:cNvPr>
          <p:cNvSpPr txBox="1"/>
          <p:nvPr/>
        </p:nvSpPr>
        <p:spPr>
          <a:xfrm>
            <a:off x="430550" y="323577"/>
            <a:ext cx="8771201" cy="461665"/>
          </a:xfrm>
          <a:prstGeom prst="rect">
            <a:avLst/>
          </a:prstGeom>
          <a:noFill/>
        </p:spPr>
        <p:txBody>
          <a:bodyPr wrap="square" lIns="91440" tIns="45720" rIns="91440" bIns="45720" rtlCol="0" anchor="t">
            <a:spAutoFit/>
          </a:bodyPr>
          <a:lstStyle/>
          <a:p>
            <a:r>
              <a:rPr lang="en-NZ" sz="2400" dirty="0">
                <a:solidFill>
                  <a:schemeClr val="bg1"/>
                </a:solidFill>
              </a:rPr>
              <a:t>What may create the need for a remediation programme? </a:t>
            </a:r>
          </a:p>
        </p:txBody>
      </p:sp>
      <p:sp>
        <p:nvSpPr>
          <p:cNvPr id="3" name="Round Same Side Corner Rectangle 59">
            <a:extLst>
              <a:ext uri="{FF2B5EF4-FFF2-40B4-BE49-F238E27FC236}">
                <a16:creationId xmlns:a16="http://schemas.microsoft.com/office/drawing/2014/main" id="{B484CCF0-1190-0A48-858A-857DD988651C}"/>
              </a:ext>
            </a:extLst>
          </p:cNvPr>
          <p:cNvSpPr/>
          <p:nvPr/>
        </p:nvSpPr>
        <p:spPr>
          <a:xfrm>
            <a:off x="430551" y="1136342"/>
            <a:ext cx="2688520" cy="530926"/>
          </a:xfrm>
          <a:prstGeom prst="round2SameRect">
            <a:avLst>
              <a:gd name="adj1" fmla="val 50000"/>
              <a:gd name="adj2" fmla="val 50000"/>
            </a:avLst>
          </a:prstGeom>
          <a:solidFill>
            <a:srgbClr val="4BABE1"/>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a:ea typeface="+mn-ea"/>
                <a:cs typeface="Lato Regular"/>
              </a:rPr>
              <a:t>Overcharging customers</a:t>
            </a:r>
          </a:p>
        </p:txBody>
      </p:sp>
      <p:sp>
        <p:nvSpPr>
          <p:cNvPr id="13" name="Round Same Side Corner Rectangle 59">
            <a:extLst>
              <a:ext uri="{FF2B5EF4-FFF2-40B4-BE49-F238E27FC236}">
                <a16:creationId xmlns:a16="http://schemas.microsoft.com/office/drawing/2014/main" id="{AD02A3DF-BA7A-B575-F945-EFEB5B0DB815}"/>
              </a:ext>
            </a:extLst>
          </p:cNvPr>
          <p:cNvSpPr/>
          <p:nvPr/>
        </p:nvSpPr>
        <p:spPr>
          <a:xfrm>
            <a:off x="3283871" y="1136342"/>
            <a:ext cx="2688520" cy="530926"/>
          </a:xfrm>
          <a:prstGeom prst="round2SameRect">
            <a:avLst>
              <a:gd name="adj1" fmla="val 50000"/>
              <a:gd name="adj2" fmla="val 50000"/>
            </a:avLst>
          </a:prstGeom>
          <a:solidFill>
            <a:srgbClr val="0076A8"/>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a:ea typeface="+mn-ea"/>
                <a:cs typeface="Lato Regular"/>
              </a:rPr>
              <a:t>Underpaying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a:ea typeface="+mn-ea"/>
                <a:cs typeface="Lato Regular"/>
              </a:rPr>
              <a:t>employees / vendors</a:t>
            </a:r>
          </a:p>
        </p:txBody>
      </p:sp>
      <p:sp>
        <p:nvSpPr>
          <p:cNvPr id="14" name="Round Same Side Corner Rectangle 59">
            <a:extLst>
              <a:ext uri="{FF2B5EF4-FFF2-40B4-BE49-F238E27FC236}">
                <a16:creationId xmlns:a16="http://schemas.microsoft.com/office/drawing/2014/main" id="{FFCE6B76-A554-D630-3134-A893C151D7FA}"/>
              </a:ext>
            </a:extLst>
          </p:cNvPr>
          <p:cNvSpPr/>
          <p:nvPr/>
        </p:nvSpPr>
        <p:spPr>
          <a:xfrm>
            <a:off x="6137191" y="1136342"/>
            <a:ext cx="2688520" cy="530926"/>
          </a:xfrm>
          <a:prstGeom prst="round2SameRect">
            <a:avLst>
              <a:gd name="adj1" fmla="val 50000"/>
              <a:gd name="adj2" fmla="val 50000"/>
            </a:avLst>
          </a:prstGeom>
          <a:solidFill>
            <a:srgbClr val="005587"/>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a:ea typeface="+mn-ea"/>
                <a:cs typeface="Lato Regular"/>
              </a:rPr>
              <a:t>Data / privacy breaches</a:t>
            </a:r>
          </a:p>
        </p:txBody>
      </p:sp>
      <p:sp>
        <p:nvSpPr>
          <p:cNvPr id="15" name="Round Same Side Corner Rectangle 59">
            <a:extLst>
              <a:ext uri="{FF2B5EF4-FFF2-40B4-BE49-F238E27FC236}">
                <a16:creationId xmlns:a16="http://schemas.microsoft.com/office/drawing/2014/main" id="{FEBFCFED-298C-9957-CEDA-A08D1D7310CE}"/>
              </a:ext>
            </a:extLst>
          </p:cNvPr>
          <p:cNvSpPr/>
          <p:nvPr/>
        </p:nvSpPr>
        <p:spPr>
          <a:xfrm>
            <a:off x="8990512" y="1136342"/>
            <a:ext cx="2688520" cy="530926"/>
          </a:xfrm>
          <a:prstGeom prst="round2SameRect">
            <a:avLst>
              <a:gd name="adj1" fmla="val 50000"/>
              <a:gd name="adj2" fmla="val 50000"/>
            </a:avLst>
          </a:prstGeom>
          <a:solidFill>
            <a:srgbClr val="012169"/>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Calibri"/>
                <a:ea typeface="+mn-ea"/>
                <a:cs typeface="Lato Regular"/>
              </a:rPr>
              <a:t>Regulatory non-compliance </a:t>
            </a:r>
          </a:p>
        </p:txBody>
      </p:sp>
      <p:sp>
        <p:nvSpPr>
          <p:cNvPr id="18" name="Round Same Side Corner Rectangle 59">
            <a:extLst>
              <a:ext uri="{FF2B5EF4-FFF2-40B4-BE49-F238E27FC236}">
                <a16:creationId xmlns:a16="http://schemas.microsoft.com/office/drawing/2014/main" id="{7BE9E789-0928-DE9E-791D-897B39614ACE}"/>
              </a:ext>
            </a:extLst>
          </p:cNvPr>
          <p:cNvSpPr/>
          <p:nvPr/>
        </p:nvSpPr>
        <p:spPr>
          <a:xfrm>
            <a:off x="472463" y="5465640"/>
            <a:ext cx="2688520" cy="408028"/>
          </a:xfrm>
          <a:prstGeom prst="round2SameRect">
            <a:avLst>
              <a:gd name="adj1" fmla="val 50000"/>
              <a:gd name="adj2" fmla="val 50000"/>
            </a:avLst>
          </a:prstGeom>
          <a:solidFill>
            <a:srgbClr val="046A38"/>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prstClr val="white"/>
                </a:solidFill>
                <a:effectLst/>
                <a:uLnTx/>
                <a:uFillTx/>
                <a:latin typeface="Calibri"/>
                <a:ea typeface="+mn-ea"/>
                <a:cs typeface="Lato Regular"/>
              </a:rPr>
              <a:t>Process</a:t>
            </a:r>
          </a:p>
        </p:txBody>
      </p:sp>
      <p:sp>
        <p:nvSpPr>
          <p:cNvPr id="19" name="Round Same Side Corner Rectangle 59">
            <a:extLst>
              <a:ext uri="{FF2B5EF4-FFF2-40B4-BE49-F238E27FC236}">
                <a16:creationId xmlns:a16="http://schemas.microsoft.com/office/drawing/2014/main" id="{E6E1DF36-F482-AF29-109D-9737F8ADD406}"/>
              </a:ext>
            </a:extLst>
          </p:cNvPr>
          <p:cNvSpPr/>
          <p:nvPr/>
        </p:nvSpPr>
        <p:spPr>
          <a:xfrm>
            <a:off x="3325783" y="5465640"/>
            <a:ext cx="2688520" cy="408028"/>
          </a:xfrm>
          <a:prstGeom prst="round2SameRect">
            <a:avLst>
              <a:gd name="adj1" fmla="val 50000"/>
              <a:gd name="adj2" fmla="val 50000"/>
            </a:avLst>
          </a:prstGeom>
          <a:solidFill>
            <a:srgbClr val="009A44"/>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prstClr val="white"/>
                </a:solidFill>
                <a:effectLst/>
                <a:uLnTx/>
                <a:uFillTx/>
                <a:latin typeface="Calibri"/>
                <a:ea typeface="+mn-ea"/>
                <a:cs typeface="Lato Regular"/>
              </a:rPr>
              <a:t>Data</a:t>
            </a:r>
          </a:p>
        </p:txBody>
      </p:sp>
      <p:sp>
        <p:nvSpPr>
          <p:cNvPr id="20" name="Round Same Side Corner Rectangle 59">
            <a:extLst>
              <a:ext uri="{FF2B5EF4-FFF2-40B4-BE49-F238E27FC236}">
                <a16:creationId xmlns:a16="http://schemas.microsoft.com/office/drawing/2014/main" id="{9E9F9418-C00D-E599-6C7F-FE06B9829860}"/>
              </a:ext>
            </a:extLst>
          </p:cNvPr>
          <p:cNvSpPr/>
          <p:nvPr/>
        </p:nvSpPr>
        <p:spPr>
          <a:xfrm>
            <a:off x="6179103" y="5465640"/>
            <a:ext cx="2688520" cy="408028"/>
          </a:xfrm>
          <a:prstGeom prst="round2SameRect">
            <a:avLst>
              <a:gd name="adj1" fmla="val 50000"/>
              <a:gd name="adj2" fmla="val 50000"/>
            </a:avLst>
          </a:prstGeom>
          <a:solidFill>
            <a:srgbClr val="43B02A"/>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prstClr val="white"/>
                </a:solidFill>
                <a:effectLst/>
                <a:uLnTx/>
                <a:uFillTx/>
                <a:latin typeface="Calibri"/>
                <a:ea typeface="+mn-ea"/>
                <a:cs typeface="Lato Regular"/>
              </a:rPr>
              <a:t>Architecture</a:t>
            </a:r>
          </a:p>
        </p:txBody>
      </p:sp>
      <p:sp>
        <p:nvSpPr>
          <p:cNvPr id="21" name="Round Same Side Corner Rectangle 59">
            <a:extLst>
              <a:ext uri="{FF2B5EF4-FFF2-40B4-BE49-F238E27FC236}">
                <a16:creationId xmlns:a16="http://schemas.microsoft.com/office/drawing/2014/main" id="{8F079E06-C85D-7319-9009-8FC52B58140D}"/>
              </a:ext>
            </a:extLst>
          </p:cNvPr>
          <p:cNvSpPr/>
          <p:nvPr/>
        </p:nvSpPr>
        <p:spPr>
          <a:xfrm>
            <a:off x="9032424" y="5465640"/>
            <a:ext cx="2688520" cy="408028"/>
          </a:xfrm>
          <a:prstGeom prst="round2SameRect">
            <a:avLst>
              <a:gd name="adj1" fmla="val 50000"/>
              <a:gd name="adj2" fmla="val 50000"/>
            </a:avLst>
          </a:prstGeom>
          <a:solidFill>
            <a:srgbClr val="86BC25"/>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solidFill>
                  <a:prstClr val="white"/>
                </a:solidFill>
                <a:effectLst/>
                <a:uLnTx/>
                <a:uFillTx/>
                <a:latin typeface="Calibri"/>
                <a:ea typeface="+mn-ea"/>
                <a:cs typeface="Lato Regular"/>
              </a:rPr>
              <a:t>Customer / Employee</a:t>
            </a:r>
          </a:p>
        </p:txBody>
      </p:sp>
    </p:spTree>
    <p:custDataLst>
      <p:tags r:id="rId1"/>
    </p:custDataLst>
    <p:extLst>
      <p:ext uri="{BB962C8B-B14F-4D97-AF65-F5344CB8AC3E}">
        <p14:creationId xmlns:p14="http://schemas.microsoft.com/office/powerpoint/2010/main" val="1203519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3" grpId="0" animBg="1"/>
      <p:bldP spid="14" grpId="0" animBg="1"/>
      <p:bldP spid="15" grpId="0" animBg="1"/>
      <p:bldP spid="18" grpId="0" animBg="1"/>
      <p:bldP spid="19" grpId="0" animBg="1"/>
      <p:bldP spid="20" grpId="0" animBg="1"/>
      <p:bldP spid="2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505F85-3D42-0670-6F18-AA1B31AFA62D}"/>
              </a:ext>
            </a:extLst>
          </p:cNvPr>
          <p:cNvSpPr txBox="1"/>
          <p:nvPr/>
        </p:nvSpPr>
        <p:spPr>
          <a:xfrm>
            <a:off x="430550" y="312147"/>
            <a:ext cx="7248633" cy="461665"/>
          </a:xfrm>
          <a:prstGeom prst="rect">
            <a:avLst/>
          </a:prstGeom>
          <a:noFill/>
        </p:spPr>
        <p:txBody>
          <a:bodyPr wrap="square" rtlCol="0">
            <a:spAutoFit/>
          </a:bodyPr>
          <a:lstStyle/>
          <a:p>
            <a:r>
              <a:rPr lang="en-NZ" sz="2400" dirty="0">
                <a:solidFill>
                  <a:schemeClr val="bg1"/>
                </a:solidFill>
              </a:rPr>
              <a:t>Remediation lifecycle</a:t>
            </a:r>
          </a:p>
        </p:txBody>
      </p:sp>
      <p:sp>
        <p:nvSpPr>
          <p:cNvPr id="47" name="Rectangle 46">
            <a:extLst>
              <a:ext uri="{FF2B5EF4-FFF2-40B4-BE49-F238E27FC236}">
                <a16:creationId xmlns:a16="http://schemas.microsoft.com/office/drawing/2014/main" id="{82112406-2EDE-BCB0-8633-1D6EFC4BDB62}"/>
              </a:ext>
            </a:extLst>
          </p:cNvPr>
          <p:cNvSpPr/>
          <p:nvPr/>
        </p:nvSpPr>
        <p:spPr>
          <a:xfrm>
            <a:off x="573512" y="3400886"/>
            <a:ext cx="2092944" cy="11969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t"/>
          <a:lstStyle/>
          <a:p>
            <a:pPr algn="ctr"/>
            <a:r>
              <a:rPr lang="en-NZ" sz="1500" dirty="0">
                <a:solidFill>
                  <a:schemeClr val="bg1"/>
                </a:solidFill>
              </a:rPr>
              <a:t>Ensure the problem is well understood and validated before launching remediation exercise</a:t>
            </a:r>
          </a:p>
        </p:txBody>
      </p:sp>
      <p:sp>
        <p:nvSpPr>
          <p:cNvPr id="48" name="Rectangle 47">
            <a:extLst>
              <a:ext uri="{FF2B5EF4-FFF2-40B4-BE49-F238E27FC236}">
                <a16:creationId xmlns:a16="http://schemas.microsoft.com/office/drawing/2014/main" id="{DE434F94-62BF-4400-CAC9-FBC12FFE1B1B}"/>
              </a:ext>
            </a:extLst>
          </p:cNvPr>
          <p:cNvSpPr/>
          <p:nvPr/>
        </p:nvSpPr>
        <p:spPr>
          <a:xfrm>
            <a:off x="2769512" y="3400886"/>
            <a:ext cx="2092944" cy="11969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t"/>
          <a:lstStyle/>
          <a:p>
            <a:pPr algn="ctr"/>
            <a:r>
              <a:rPr lang="en-NZ" sz="1500" dirty="0">
                <a:solidFill>
                  <a:schemeClr val="bg1"/>
                </a:solidFill>
              </a:rPr>
              <a:t>Scope project, identify &amp; protect relevant data and enable short term remedial action</a:t>
            </a:r>
          </a:p>
          <a:p>
            <a:pPr algn="ctr"/>
            <a:endParaRPr lang="en-NZ" sz="1500" dirty="0">
              <a:solidFill>
                <a:schemeClr val="bg1"/>
              </a:solidFill>
            </a:endParaRPr>
          </a:p>
        </p:txBody>
      </p:sp>
      <p:sp>
        <p:nvSpPr>
          <p:cNvPr id="49" name="Rectangle 48">
            <a:extLst>
              <a:ext uri="{FF2B5EF4-FFF2-40B4-BE49-F238E27FC236}">
                <a16:creationId xmlns:a16="http://schemas.microsoft.com/office/drawing/2014/main" id="{301132B6-F9C7-AA3A-6E37-C7E861849148}"/>
              </a:ext>
            </a:extLst>
          </p:cNvPr>
          <p:cNvSpPr/>
          <p:nvPr/>
        </p:nvSpPr>
        <p:spPr>
          <a:xfrm>
            <a:off x="5131555" y="3400886"/>
            <a:ext cx="1760858" cy="11969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t"/>
          <a:lstStyle/>
          <a:p>
            <a:pPr algn="ctr"/>
            <a:r>
              <a:rPr lang="en-NZ" sz="1500" dirty="0">
                <a:solidFill>
                  <a:schemeClr val="bg1"/>
                </a:solidFill>
              </a:rPr>
              <a:t>Undertake analysis to understand the extent of the impact and cause</a:t>
            </a:r>
          </a:p>
        </p:txBody>
      </p:sp>
      <p:sp>
        <p:nvSpPr>
          <p:cNvPr id="50" name="Rectangle 49">
            <a:extLst>
              <a:ext uri="{FF2B5EF4-FFF2-40B4-BE49-F238E27FC236}">
                <a16:creationId xmlns:a16="http://schemas.microsoft.com/office/drawing/2014/main" id="{1176120D-382B-2D0F-25E3-61819499AB2F}"/>
              </a:ext>
            </a:extLst>
          </p:cNvPr>
          <p:cNvSpPr/>
          <p:nvPr/>
        </p:nvSpPr>
        <p:spPr>
          <a:xfrm>
            <a:off x="7131279" y="3400886"/>
            <a:ext cx="2092944" cy="11969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t"/>
          <a:lstStyle/>
          <a:p>
            <a:pPr algn="ctr"/>
            <a:r>
              <a:rPr lang="en-NZ" sz="1500" dirty="0">
                <a:solidFill>
                  <a:schemeClr val="bg1"/>
                </a:solidFill>
              </a:rPr>
              <a:t>Design remediation methodology and action the plan</a:t>
            </a:r>
          </a:p>
        </p:txBody>
      </p:sp>
      <p:sp>
        <p:nvSpPr>
          <p:cNvPr id="51" name="Rectangle 50">
            <a:extLst>
              <a:ext uri="{FF2B5EF4-FFF2-40B4-BE49-F238E27FC236}">
                <a16:creationId xmlns:a16="http://schemas.microsoft.com/office/drawing/2014/main" id="{06340B9A-D169-D92D-EAB3-CD7EDE3F95C2}"/>
              </a:ext>
            </a:extLst>
          </p:cNvPr>
          <p:cNvSpPr/>
          <p:nvPr/>
        </p:nvSpPr>
        <p:spPr>
          <a:xfrm>
            <a:off x="9540991" y="3400886"/>
            <a:ext cx="1757682" cy="11969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t"/>
          <a:lstStyle/>
          <a:p>
            <a:pPr algn="ctr"/>
            <a:r>
              <a:rPr lang="en-NZ" sz="1500" dirty="0">
                <a:solidFill>
                  <a:schemeClr val="bg1"/>
                </a:solidFill>
              </a:rPr>
              <a:t>Future proof to address systematic issues</a:t>
            </a:r>
          </a:p>
        </p:txBody>
      </p:sp>
      <p:sp>
        <p:nvSpPr>
          <p:cNvPr id="2" name="Arrow: Pentagon 1">
            <a:extLst>
              <a:ext uri="{FF2B5EF4-FFF2-40B4-BE49-F238E27FC236}">
                <a16:creationId xmlns:a16="http://schemas.microsoft.com/office/drawing/2014/main" id="{E1418030-AB2A-6A4A-39F9-D73465812C6D}"/>
              </a:ext>
            </a:extLst>
          </p:cNvPr>
          <p:cNvSpPr/>
          <p:nvPr/>
        </p:nvSpPr>
        <p:spPr>
          <a:xfrm>
            <a:off x="623082" y="2667415"/>
            <a:ext cx="2196000" cy="468000"/>
          </a:xfrm>
          <a:prstGeom prst="homePlate">
            <a:avLst/>
          </a:prstGeom>
          <a:solidFill>
            <a:srgbClr val="86BC25"/>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1400" b="1" i="0" u="none" strike="noStrike" kern="0" cap="none" spc="0" normalizeH="0" baseline="0" noProof="0" dirty="0">
                <a:ln>
                  <a:noFill/>
                </a:ln>
                <a:solidFill>
                  <a:prstClr val="white"/>
                </a:solidFill>
                <a:effectLst/>
                <a:uLnTx/>
                <a:uFillTx/>
                <a:latin typeface="Calibri"/>
                <a:ea typeface="+mn-ea"/>
                <a:cs typeface="+mn-cs"/>
              </a:rPr>
              <a:t>Problem Validation</a:t>
            </a:r>
          </a:p>
        </p:txBody>
      </p:sp>
      <p:sp>
        <p:nvSpPr>
          <p:cNvPr id="4" name="Arrow: Chevron 3">
            <a:extLst>
              <a:ext uri="{FF2B5EF4-FFF2-40B4-BE49-F238E27FC236}">
                <a16:creationId xmlns:a16="http://schemas.microsoft.com/office/drawing/2014/main" id="{62318AF8-93C7-D4CD-8DC2-40013E86B0E4}"/>
              </a:ext>
            </a:extLst>
          </p:cNvPr>
          <p:cNvSpPr/>
          <p:nvPr/>
        </p:nvSpPr>
        <p:spPr>
          <a:xfrm>
            <a:off x="2806989" y="2667415"/>
            <a:ext cx="2196000" cy="468000"/>
          </a:xfrm>
          <a:prstGeom prst="chevron">
            <a:avLst/>
          </a:prstGeom>
          <a:solidFill>
            <a:srgbClr val="43B02A"/>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1400" b="1" i="0" u="none" strike="noStrike" kern="0" cap="none" spc="0" normalizeH="0" baseline="0" noProof="0" dirty="0">
                <a:ln>
                  <a:noFill/>
                </a:ln>
                <a:solidFill>
                  <a:prstClr val="white"/>
                </a:solidFill>
                <a:effectLst/>
                <a:uLnTx/>
                <a:uFillTx/>
                <a:latin typeface="Calibri"/>
                <a:ea typeface="+mn-ea"/>
                <a:cs typeface="+mn-cs"/>
              </a:rPr>
              <a:t>Scope &amp; Contain</a:t>
            </a:r>
          </a:p>
        </p:txBody>
      </p:sp>
      <p:sp>
        <p:nvSpPr>
          <p:cNvPr id="5" name="Arrow: Chevron 4">
            <a:extLst>
              <a:ext uri="{FF2B5EF4-FFF2-40B4-BE49-F238E27FC236}">
                <a16:creationId xmlns:a16="http://schemas.microsoft.com/office/drawing/2014/main" id="{F9F7AE58-D5C8-7034-67ED-FA52E32299DE}"/>
              </a:ext>
            </a:extLst>
          </p:cNvPr>
          <p:cNvSpPr/>
          <p:nvPr/>
        </p:nvSpPr>
        <p:spPr>
          <a:xfrm>
            <a:off x="4990896" y="2667415"/>
            <a:ext cx="2196000" cy="468000"/>
          </a:xfrm>
          <a:prstGeom prst="chevron">
            <a:avLst/>
          </a:prstGeom>
          <a:solidFill>
            <a:srgbClr val="009A44"/>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1400" b="1" i="0" u="none" strike="noStrike" kern="0" cap="none" spc="0" normalizeH="0" baseline="0" noProof="0" dirty="0">
                <a:ln>
                  <a:noFill/>
                </a:ln>
                <a:solidFill>
                  <a:prstClr val="white"/>
                </a:solidFill>
                <a:effectLst/>
                <a:uLnTx/>
                <a:uFillTx/>
                <a:latin typeface="Calibri"/>
                <a:ea typeface="+mn-ea"/>
                <a:cs typeface="+mn-cs"/>
              </a:rPr>
              <a:t>Impact Analysis</a:t>
            </a:r>
          </a:p>
        </p:txBody>
      </p:sp>
      <p:sp>
        <p:nvSpPr>
          <p:cNvPr id="6" name="Arrow: Chevron 5">
            <a:extLst>
              <a:ext uri="{FF2B5EF4-FFF2-40B4-BE49-F238E27FC236}">
                <a16:creationId xmlns:a16="http://schemas.microsoft.com/office/drawing/2014/main" id="{132AB261-EC08-B133-6011-796404989E7F}"/>
              </a:ext>
            </a:extLst>
          </p:cNvPr>
          <p:cNvSpPr/>
          <p:nvPr/>
        </p:nvSpPr>
        <p:spPr>
          <a:xfrm>
            <a:off x="7162710" y="2667415"/>
            <a:ext cx="2196000" cy="468000"/>
          </a:xfrm>
          <a:prstGeom prst="chevron">
            <a:avLst/>
          </a:prstGeom>
          <a:solidFill>
            <a:srgbClr val="046A38"/>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1400" b="1" i="0" u="none" strike="noStrike" kern="0" cap="none" spc="0" normalizeH="0" baseline="0" noProof="0" dirty="0">
                <a:ln>
                  <a:noFill/>
                </a:ln>
                <a:solidFill>
                  <a:prstClr val="white"/>
                </a:solidFill>
                <a:effectLst/>
                <a:uLnTx/>
                <a:uFillTx/>
                <a:latin typeface="Calibri"/>
                <a:ea typeface="+mn-ea"/>
                <a:cs typeface="+mn-cs"/>
              </a:rPr>
              <a:t>Remediation</a:t>
            </a:r>
          </a:p>
        </p:txBody>
      </p:sp>
      <p:sp>
        <p:nvSpPr>
          <p:cNvPr id="7" name="Arrow: Chevron 6">
            <a:extLst>
              <a:ext uri="{FF2B5EF4-FFF2-40B4-BE49-F238E27FC236}">
                <a16:creationId xmlns:a16="http://schemas.microsoft.com/office/drawing/2014/main" id="{3E8CFCB5-2FEB-8730-1FB4-225A1882F0C3}"/>
              </a:ext>
            </a:extLst>
          </p:cNvPr>
          <p:cNvSpPr/>
          <p:nvPr/>
        </p:nvSpPr>
        <p:spPr>
          <a:xfrm>
            <a:off x="9346617" y="2667415"/>
            <a:ext cx="2196000" cy="468000"/>
          </a:xfrm>
          <a:prstGeom prst="chevron">
            <a:avLst/>
          </a:prstGeom>
          <a:solidFill>
            <a:srgbClr val="2C5234"/>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1400" b="1" i="0" u="none" strike="noStrike" kern="0" cap="none" spc="0" normalizeH="0" baseline="0" noProof="0" dirty="0">
                <a:ln>
                  <a:noFill/>
                </a:ln>
                <a:solidFill>
                  <a:prstClr val="white"/>
                </a:solidFill>
                <a:effectLst/>
                <a:uLnTx/>
                <a:uFillTx/>
                <a:latin typeface="Calibri"/>
                <a:ea typeface="+mn-ea"/>
                <a:cs typeface="+mn-cs"/>
              </a:rPr>
              <a:t>Prevention</a:t>
            </a:r>
          </a:p>
        </p:txBody>
      </p:sp>
      <p:sp>
        <p:nvSpPr>
          <p:cNvPr id="8" name="Rectangle 7">
            <a:extLst>
              <a:ext uri="{FF2B5EF4-FFF2-40B4-BE49-F238E27FC236}">
                <a16:creationId xmlns:a16="http://schemas.microsoft.com/office/drawing/2014/main" id="{C6192DB8-52A1-9163-73E9-F4FF38D07A61}"/>
              </a:ext>
            </a:extLst>
          </p:cNvPr>
          <p:cNvSpPr/>
          <p:nvPr/>
        </p:nvSpPr>
        <p:spPr>
          <a:xfrm>
            <a:off x="601817" y="1992815"/>
            <a:ext cx="10696856" cy="468000"/>
          </a:xfrm>
          <a:prstGeom prst="rect">
            <a:avLst/>
          </a:prstGeom>
          <a:solidFill>
            <a:srgbClr val="63666A"/>
          </a:solidFill>
          <a:ln w="25400" cap="flat" cmpd="sng" algn="ctr">
            <a:noFill/>
            <a:prstDash val="solid"/>
          </a:ln>
          <a:effectLst/>
        </p:spPr>
        <p:txBody>
          <a:bodyPr lIns="109710" tIns="54855" rIns="109710" bIns="54855"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NZ" sz="1400" b="1" i="0" u="none" strike="noStrike" kern="0" cap="none" spc="0" normalizeH="0" baseline="0" noProof="0" dirty="0">
                <a:ln>
                  <a:noFill/>
                </a:ln>
                <a:solidFill>
                  <a:prstClr val="white"/>
                </a:solidFill>
                <a:effectLst/>
                <a:uLnTx/>
                <a:uFillTx/>
                <a:latin typeface="Calibri"/>
                <a:ea typeface="+mn-ea"/>
                <a:cs typeface="+mn-cs"/>
              </a:rPr>
              <a:t>Governance &amp; Project Management</a:t>
            </a:r>
          </a:p>
        </p:txBody>
      </p:sp>
    </p:spTree>
    <p:extLst>
      <p:ext uri="{BB962C8B-B14F-4D97-AF65-F5344CB8AC3E}">
        <p14:creationId xmlns:p14="http://schemas.microsoft.com/office/powerpoint/2010/main" val="384564512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505F85-3D42-0670-6F18-AA1B31AFA62D}"/>
              </a:ext>
            </a:extLst>
          </p:cNvPr>
          <p:cNvSpPr txBox="1"/>
          <p:nvPr/>
        </p:nvSpPr>
        <p:spPr>
          <a:xfrm>
            <a:off x="430550" y="323577"/>
            <a:ext cx="11151850" cy="830997"/>
          </a:xfrm>
          <a:prstGeom prst="rect">
            <a:avLst/>
          </a:prstGeom>
          <a:noFill/>
        </p:spPr>
        <p:txBody>
          <a:bodyPr wrap="square" rtlCol="0">
            <a:spAutoFit/>
          </a:bodyPr>
          <a:lstStyle/>
          <a:p>
            <a:r>
              <a:rPr kumimoji="0" lang="en-NZ" sz="2400" i="0" u="none" strike="noStrike" kern="0" cap="none" spc="0" normalizeH="0" baseline="0" noProof="0" dirty="0">
                <a:ln>
                  <a:noFill/>
                </a:ln>
                <a:solidFill>
                  <a:prstClr val="white"/>
                </a:solidFill>
                <a:effectLst/>
                <a:uLnTx/>
                <a:uFillTx/>
                <a:latin typeface="Calibri"/>
                <a:ea typeface="+mn-ea"/>
                <a:cs typeface="+mn-cs"/>
              </a:rPr>
              <a:t>Governance &amp; Project Management</a:t>
            </a:r>
          </a:p>
          <a:p>
            <a:endParaRPr lang="en-NZ" sz="2400" dirty="0">
              <a:solidFill>
                <a:schemeClr val="bg1"/>
              </a:solidFill>
            </a:endParaRPr>
          </a:p>
        </p:txBody>
      </p:sp>
      <p:sp>
        <p:nvSpPr>
          <p:cNvPr id="8" name="TextBox 7">
            <a:extLst>
              <a:ext uri="{FF2B5EF4-FFF2-40B4-BE49-F238E27FC236}">
                <a16:creationId xmlns:a16="http://schemas.microsoft.com/office/drawing/2014/main" id="{FF03BF64-50A8-CB0B-DE13-A0A27F76C4C7}"/>
              </a:ext>
            </a:extLst>
          </p:cNvPr>
          <p:cNvSpPr txBox="1"/>
          <p:nvPr/>
        </p:nvSpPr>
        <p:spPr>
          <a:xfrm>
            <a:off x="3773737" y="5587181"/>
            <a:ext cx="2288103" cy="430887"/>
          </a:xfrm>
          <a:prstGeom prst="rect">
            <a:avLst/>
          </a:prstGeom>
          <a:noFill/>
        </p:spPr>
        <p:txBody>
          <a:bodyPr wrap="square" lIns="0" tIns="0" rIns="0" bIns="0" rtlCol="0">
            <a:spAutoFit/>
          </a:bodyPr>
          <a:lstStyle/>
          <a:p>
            <a:pPr>
              <a:spcBef>
                <a:spcPts val="600"/>
              </a:spcBef>
              <a:buSzPct val="100000"/>
            </a:pPr>
            <a:r>
              <a:rPr lang="en-GB" sz="1400" dirty="0">
                <a:solidFill>
                  <a:schemeClr val="bg1"/>
                </a:solidFill>
              </a:rPr>
              <a:t>Transfer lessons learned to business as usual operations </a:t>
            </a:r>
          </a:p>
        </p:txBody>
      </p:sp>
      <p:sp>
        <p:nvSpPr>
          <p:cNvPr id="11" name="TextBox 10">
            <a:extLst>
              <a:ext uri="{FF2B5EF4-FFF2-40B4-BE49-F238E27FC236}">
                <a16:creationId xmlns:a16="http://schemas.microsoft.com/office/drawing/2014/main" id="{0651425A-D19D-51CC-D896-DA2B5F9D2373}"/>
              </a:ext>
            </a:extLst>
          </p:cNvPr>
          <p:cNvSpPr txBox="1"/>
          <p:nvPr/>
        </p:nvSpPr>
        <p:spPr>
          <a:xfrm>
            <a:off x="7024334" y="5587181"/>
            <a:ext cx="1948712" cy="215444"/>
          </a:xfrm>
          <a:prstGeom prst="rect">
            <a:avLst/>
          </a:prstGeom>
          <a:noFill/>
        </p:spPr>
        <p:txBody>
          <a:bodyPr wrap="square" lIns="0" tIns="0" rIns="0" bIns="0" rtlCol="0">
            <a:spAutoFit/>
          </a:bodyPr>
          <a:lstStyle/>
          <a:p>
            <a:pPr>
              <a:spcBef>
                <a:spcPts val="600"/>
              </a:spcBef>
              <a:buSzPct val="100000"/>
            </a:pPr>
            <a:r>
              <a:rPr lang="en-GB" sz="1400" dirty="0">
                <a:solidFill>
                  <a:schemeClr val="bg1"/>
                </a:solidFill>
              </a:rPr>
              <a:t>Creating traceability</a:t>
            </a:r>
          </a:p>
        </p:txBody>
      </p:sp>
      <p:sp>
        <p:nvSpPr>
          <p:cNvPr id="17" name="TextBox 16">
            <a:extLst>
              <a:ext uri="{FF2B5EF4-FFF2-40B4-BE49-F238E27FC236}">
                <a16:creationId xmlns:a16="http://schemas.microsoft.com/office/drawing/2014/main" id="{E8AC179A-438E-9423-1CEE-5F3060243189}"/>
              </a:ext>
            </a:extLst>
          </p:cNvPr>
          <p:cNvSpPr txBox="1"/>
          <p:nvPr/>
        </p:nvSpPr>
        <p:spPr>
          <a:xfrm>
            <a:off x="9629791" y="5587181"/>
            <a:ext cx="1637248" cy="430887"/>
          </a:xfrm>
          <a:prstGeom prst="rect">
            <a:avLst/>
          </a:prstGeom>
          <a:noFill/>
        </p:spPr>
        <p:txBody>
          <a:bodyPr wrap="square" lIns="0" tIns="0" rIns="0" bIns="0" rtlCol="0">
            <a:spAutoFit/>
          </a:bodyPr>
          <a:lstStyle/>
          <a:p>
            <a:pPr>
              <a:spcBef>
                <a:spcPts val="600"/>
              </a:spcBef>
              <a:buSzPct val="100000"/>
            </a:pPr>
            <a:r>
              <a:rPr lang="en-GB" sz="1400" dirty="0">
                <a:solidFill>
                  <a:schemeClr val="bg1"/>
                </a:solidFill>
              </a:rPr>
              <a:t>Demonstrate good governance disciplines </a:t>
            </a:r>
          </a:p>
        </p:txBody>
      </p:sp>
      <p:sp>
        <p:nvSpPr>
          <p:cNvPr id="39" name="TextBox 38">
            <a:extLst>
              <a:ext uri="{FF2B5EF4-FFF2-40B4-BE49-F238E27FC236}">
                <a16:creationId xmlns:a16="http://schemas.microsoft.com/office/drawing/2014/main" id="{00BD76CF-9ED7-DEA8-BB0D-B9E1B6ACC9C4}"/>
              </a:ext>
            </a:extLst>
          </p:cNvPr>
          <p:cNvSpPr txBox="1"/>
          <p:nvPr/>
        </p:nvSpPr>
        <p:spPr>
          <a:xfrm>
            <a:off x="944134" y="5587181"/>
            <a:ext cx="2288103" cy="430887"/>
          </a:xfrm>
          <a:prstGeom prst="rect">
            <a:avLst/>
          </a:prstGeom>
          <a:noFill/>
        </p:spPr>
        <p:txBody>
          <a:bodyPr wrap="square" lIns="0" tIns="0" rIns="0" bIns="0" rtlCol="0">
            <a:spAutoFit/>
          </a:bodyPr>
          <a:lstStyle/>
          <a:p>
            <a:pPr>
              <a:spcBef>
                <a:spcPts val="600"/>
              </a:spcBef>
              <a:buSzPct val="100000"/>
            </a:pPr>
            <a:r>
              <a:rPr lang="en-GB" sz="1400" dirty="0">
                <a:solidFill>
                  <a:schemeClr val="bg1"/>
                </a:solidFill>
              </a:rPr>
              <a:t>Achieve a “one time” remediation </a:t>
            </a:r>
          </a:p>
        </p:txBody>
      </p:sp>
      <p:sp>
        <p:nvSpPr>
          <p:cNvPr id="10" name="文本框 106">
            <a:extLst>
              <a:ext uri="{FF2B5EF4-FFF2-40B4-BE49-F238E27FC236}">
                <a16:creationId xmlns:a16="http://schemas.microsoft.com/office/drawing/2014/main" id="{D1799AF7-9114-42AF-B0B1-B4BE3EFC0F55}"/>
              </a:ext>
            </a:extLst>
          </p:cNvPr>
          <p:cNvSpPr txBox="1"/>
          <p:nvPr/>
        </p:nvSpPr>
        <p:spPr>
          <a:xfrm>
            <a:off x="650543" y="3419650"/>
            <a:ext cx="1731777" cy="718145"/>
          </a:xfrm>
          <a:prstGeom prst="rect">
            <a:avLst/>
          </a:prstGeom>
          <a:noFill/>
        </p:spPr>
        <p:txBody>
          <a:bodyPr vert="horz" wrap="square" lIns="0" tIns="0" rIns="0" bIns="0" rtlCol="0">
            <a:spAutoFit/>
          </a:bodyPr>
          <a:lstStyle/>
          <a:p>
            <a:pPr marL="0" marR="0" lvl="0" indent="0" algn="ctr" defTabSz="914400" eaLnBrk="1" fontAlgn="auto" latinLnBrk="0" hangingPunct="1">
              <a:lnSpc>
                <a:spcPct val="100000"/>
              </a:lnSpc>
              <a:spcBef>
                <a:spcPts val="200"/>
              </a:spcBef>
              <a:spcAft>
                <a:spcPts val="0"/>
              </a:spcAft>
              <a:buClrTx/>
              <a:buSzPct val="100000"/>
              <a:buFontTx/>
              <a:buNone/>
              <a:tabLst/>
              <a:defRPr/>
            </a:pPr>
            <a:r>
              <a:rPr kumimoji="0" lang="en-NZ" altLang="zh-CN" sz="1500" b="0" i="0" u="none" strike="noStrike" kern="0" cap="none" spc="0" normalizeH="0" baseline="0" noProof="0" dirty="0">
                <a:ln>
                  <a:noFill/>
                </a:ln>
                <a:solidFill>
                  <a:schemeClr val="bg1"/>
                </a:solidFill>
                <a:effectLst/>
                <a:uLnTx/>
                <a:uFillTx/>
              </a:rPr>
              <a:t>How are decisions made? </a:t>
            </a:r>
          </a:p>
          <a:p>
            <a:pPr marL="0" marR="0" lvl="0" indent="0" algn="ctr" defTabSz="914400" eaLnBrk="1" fontAlgn="auto" latinLnBrk="0" hangingPunct="1">
              <a:lnSpc>
                <a:spcPct val="100000"/>
              </a:lnSpc>
              <a:spcBef>
                <a:spcPts val="200"/>
              </a:spcBef>
              <a:spcAft>
                <a:spcPts val="0"/>
              </a:spcAft>
              <a:buClrTx/>
              <a:buSzPct val="100000"/>
              <a:buFontTx/>
              <a:buNone/>
              <a:tabLst/>
              <a:defRPr/>
            </a:pPr>
            <a:endParaRPr kumimoji="0" lang="en-US" sz="1500" b="0" i="0" u="none" strike="noStrike" kern="0" cap="none" spc="0" normalizeH="0" baseline="0" noProof="0" dirty="0">
              <a:ln>
                <a:noFill/>
              </a:ln>
              <a:solidFill>
                <a:schemeClr val="bg1"/>
              </a:solidFill>
              <a:effectLst/>
              <a:uLnTx/>
              <a:uFillTx/>
            </a:endParaRPr>
          </a:p>
        </p:txBody>
      </p:sp>
      <p:cxnSp>
        <p:nvCxnSpPr>
          <p:cNvPr id="12" name="直接连接符 38">
            <a:extLst>
              <a:ext uri="{FF2B5EF4-FFF2-40B4-BE49-F238E27FC236}">
                <a16:creationId xmlns:a16="http://schemas.microsoft.com/office/drawing/2014/main" id="{FC7E6779-D305-0C01-9CB1-5CBF60C6A8A8}"/>
              </a:ext>
            </a:extLst>
          </p:cNvPr>
          <p:cNvCxnSpPr>
            <a:cxnSpLocks/>
            <a:stCxn id="55" idx="6"/>
            <a:endCxn id="59" idx="2"/>
          </p:cNvCxnSpPr>
          <p:nvPr/>
        </p:nvCxnSpPr>
        <p:spPr>
          <a:xfrm flipV="1">
            <a:off x="1508659" y="2844369"/>
            <a:ext cx="2187530" cy="6274"/>
          </a:xfrm>
          <a:prstGeom prst="line">
            <a:avLst/>
          </a:prstGeom>
          <a:noFill/>
          <a:ln w="28575" cap="rnd" cmpd="sng" algn="ctr">
            <a:solidFill>
              <a:srgbClr val="00A3E0"/>
            </a:solidFill>
            <a:prstDash val="sysDot"/>
          </a:ln>
          <a:effectLst/>
        </p:spPr>
      </p:cxnSp>
      <p:cxnSp>
        <p:nvCxnSpPr>
          <p:cNvPr id="13" name="直接连接符 112">
            <a:extLst>
              <a:ext uri="{FF2B5EF4-FFF2-40B4-BE49-F238E27FC236}">
                <a16:creationId xmlns:a16="http://schemas.microsoft.com/office/drawing/2014/main" id="{13E0EF1B-0F35-2BE4-497E-0591FBBA68CB}"/>
              </a:ext>
            </a:extLst>
          </p:cNvPr>
          <p:cNvCxnSpPr>
            <a:cxnSpLocks/>
          </p:cNvCxnSpPr>
          <p:nvPr/>
        </p:nvCxnSpPr>
        <p:spPr>
          <a:xfrm flipV="1">
            <a:off x="3830669" y="2841326"/>
            <a:ext cx="2202964" cy="14060"/>
          </a:xfrm>
          <a:prstGeom prst="line">
            <a:avLst/>
          </a:prstGeom>
          <a:noFill/>
          <a:ln w="28575" cap="rnd" cmpd="sng" algn="ctr">
            <a:solidFill>
              <a:srgbClr val="005587"/>
            </a:solidFill>
            <a:prstDash val="sysDot"/>
          </a:ln>
          <a:effectLst/>
        </p:spPr>
      </p:cxnSp>
      <p:cxnSp>
        <p:nvCxnSpPr>
          <p:cNvPr id="14" name="直接连接符 114">
            <a:extLst>
              <a:ext uri="{FF2B5EF4-FFF2-40B4-BE49-F238E27FC236}">
                <a16:creationId xmlns:a16="http://schemas.microsoft.com/office/drawing/2014/main" id="{7E808AB3-D449-FAC4-53FC-DB7C53C5865F}"/>
              </a:ext>
            </a:extLst>
          </p:cNvPr>
          <p:cNvCxnSpPr>
            <a:cxnSpLocks/>
          </p:cNvCxnSpPr>
          <p:nvPr/>
        </p:nvCxnSpPr>
        <p:spPr>
          <a:xfrm flipV="1">
            <a:off x="6168113" y="2832366"/>
            <a:ext cx="2270202" cy="8960"/>
          </a:xfrm>
          <a:prstGeom prst="line">
            <a:avLst/>
          </a:prstGeom>
          <a:noFill/>
          <a:ln w="28575" cap="rnd" cmpd="sng" algn="ctr">
            <a:solidFill>
              <a:srgbClr val="A7A8AA"/>
            </a:solidFill>
            <a:prstDash val="sysDot"/>
          </a:ln>
          <a:effectLst/>
        </p:spPr>
      </p:cxnSp>
      <p:grpSp>
        <p:nvGrpSpPr>
          <p:cNvPr id="15" name="组合 7">
            <a:extLst>
              <a:ext uri="{FF2B5EF4-FFF2-40B4-BE49-F238E27FC236}">
                <a16:creationId xmlns:a16="http://schemas.microsoft.com/office/drawing/2014/main" id="{4DB8E0F2-D4BB-0C04-BD8D-EF6B5AD4605D}"/>
              </a:ext>
            </a:extLst>
          </p:cNvPr>
          <p:cNvGrpSpPr/>
          <p:nvPr/>
        </p:nvGrpSpPr>
        <p:grpSpPr>
          <a:xfrm>
            <a:off x="941746" y="1578243"/>
            <a:ext cx="999347" cy="1736135"/>
            <a:chOff x="805641" y="2127593"/>
            <a:chExt cx="999347" cy="1736135"/>
          </a:xfrm>
        </p:grpSpPr>
        <p:sp>
          <p:nvSpPr>
            <p:cNvPr id="16" name="椭圆 73">
              <a:extLst>
                <a:ext uri="{FF2B5EF4-FFF2-40B4-BE49-F238E27FC236}">
                  <a16:creationId xmlns:a16="http://schemas.microsoft.com/office/drawing/2014/main" id="{4779333F-8AC6-49BE-29FD-6DD0EB16D234}"/>
                </a:ext>
              </a:extLst>
            </p:cNvPr>
            <p:cNvSpPr/>
            <p:nvPr/>
          </p:nvSpPr>
          <p:spPr bwMode="gray">
            <a:xfrm>
              <a:off x="805641" y="2127593"/>
              <a:ext cx="999347" cy="999347"/>
            </a:xfrm>
            <a:prstGeom prst="ellipse">
              <a:avLst/>
            </a:prstGeom>
            <a:noFill/>
            <a:ln w="95250" cmpd="thickThin" algn="ctr">
              <a:solidFill>
                <a:srgbClr val="00A3E0"/>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cxnSp>
          <p:nvCxnSpPr>
            <p:cNvPr id="37" name="直接连接符 116">
              <a:extLst>
                <a:ext uri="{FF2B5EF4-FFF2-40B4-BE49-F238E27FC236}">
                  <a16:creationId xmlns:a16="http://schemas.microsoft.com/office/drawing/2014/main" id="{2F69E7C4-D222-C2B3-9BF8-5926182BAA94}"/>
                </a:ext>
              </a:extLst>
            </p:cNvPr>
            <p:cNvCxnSpPr/>
            <p:nvPr/>
          </p:nvCxnSpPr>
          <p:spPr>
            <a:xfrm flipH="1">
              <a:off x="1305314" y="3357494"/>
              <a:ext cx="1" cy="506234"/>
            </a:xfrm>
            <a:prstGeom prst="line">
              <a:avLst/>
            </a:prstGeom>
            <a:noFill/>
            <a:ln w="28575" cap="rnd" cmpd="sng" algn="ctr">
              <a:solidFill>
                <a:srgbClr val="00A3E0"/>
              </a:solidFill>
              <a:prstDash val="sysDot"/>
            </a:ln>
            <a:effectLst/>
          </p:spPr>
        </p:cxnSp>
        <p:sp>
          <p:nvSpPr>
            <p:cNvPr id="38" name="等腰三角形 10">
              <a:extLst>
                <a:ext uri="{FF2B5EF4-FFF2-40B4-BE49-F238E27FC236}">
                  <a16:creationId xmlns:a16="http://schemas.microsoft.com/office/drawing/2014/main" id="{E2B9E7AE-A99E-AA6C-39B0-092F30DB9EFB}"/>
                </a:ext>
              </a:extLst>
            </p:cNvPr>
            <p:cNvSpPr/>
            <p:nvPr/>
          </p:nvSpPr>
          <p:spPr bwMode="gray">
            <a:xfrm flipV="1">
              <a:off x="1236734" y="3137898"/>
              <a:ext cx="137160" cy="143135"/>
            </a:xfrm>
            <a:prstGeom prst="triangle">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sp>
          <p:nvSpPr>
            <p:cNvPr id="55" name="椭圆 14">
              <a:extLst>
                <a:ext uri="{FF2B5EF4-FFF2-40B4-BE49-F238E27FC236}">
                  <a16:creationId xmlns:a16="http://schemas.microsoft.com/office/drawing/2014/main" id="{80C50241-3503-AD31-ED53-84971E91C298}"/>
                </a:ext>
              </a:extLst>
            </p:cNvPr>
            <p:cNvSpPr/>
            <p:nvPr/>
          </p:nvSpPr>
          <p:spPr bwMode="gray">
            <a:xfrm>
              <a:off x="1238074" y="3332753"/>
              <a:ext cx="134480" cy="134480"/>
            </a:xfrm>
            <a:prstGeom prst="ellipse">
              <a:avLst/>
            </a:prstGeom>
            <a:solidFill>
              <a:sysClr val="window" lastClr="FFFFFF"/>
            </a:solidFill>
            <a:ln w="19050" cmpd="sng" algn="ctr">
              <a:solidFill>
                <a:srgbClr val="00A3E0"/>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grpSp>
      <p:grpSp>
        <p:nvGrpSpPr>
          <p:cNvPr id="56" name="组合 8">
            <a:extLst>
              <a:ext uri="{FF2B5EF4-FFF2-40B4-BE49-F238E27FC236}">
                <a16:creationId xmlns:a16="http://schemas.microsoft.com/office/drawing/2014/main" id="{43A51B98-1151-8140-4F0D-4AD9A93E32E2}"/>
              </a:ext>
            </a:extLst>
          </p:cNvPr>
          <p:cNvGrpSpPr/>
          <p:nvPr/>
        </p:nvGrpSpPr>
        <p:grpSpPr>
          <a:xfrm>
            <a:off x="3263756" y="1586520"/>
            <a:ext cx="999347" cy="1746609"/>
            <a:chOff x="2889486" y="2138551"/>
            <a:chExt cx="999347" cy="1746609"/>
          </a:xfrm>
        </p:grpSpPr>
        <p:sp>
          <p:nvSpPr>
            <p:cNvPr id="57" name="椭圆 75">
              <a:extLst>
                <a:ext uri="{FF2B5EF4-FFF2-40B4-BE49-F238E27FC236}">
                  <a16:creationId xmlns:a16="http://schemas.microsoft.com/office/drawing/2014/main" id="{D25078B5-E2A0-6EB0-80C0-63FFF5EC5FFE}"/>
                </a:ext>
              </a:extLst>
            </p:cNvPr>
            <p:cNvSpPr/>
            <p:nvPr/>
          </p:nvSpPr>
          <p:spPr bwMode="gray">
            <a:xfrm>
              <a:off x="2889486" y="2138551"/>
              <a:ext cx="999347" cy="999347"/>
            </a:xfrm>
            <a:prstGeom prst="ellipse">
              <a:avLst/>
            </a:prstGeom>
            <a:noFill/>
            <a:ln w="95250" cmpd="thickThin" algn="ctr">
              <a:solidFill>
                <a:srgbClr val="005587"/>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cxnSp>
          <p:nvCxnSpPr>
            <p:cNvPr id="58" name="直接连接符 118">
              <a:extLst>
                <a:ext uri="{FF2B5EF4-FFF2-40B4-BE49-F238E27FC236}">
                  <a16:creationId xmlns:a16="http://schemas.microsoft.com/office/drawing/2014/main" id="{A3ED5ED0-F2BB-9857-334B-B144D581FF8C}"/>
                </a:ext>
              </a:extLst>
            </p:cNvPr>
            <p:cNvCxnSpPr/>
            <p:nvPr/>
          </p:nvCxnSpPr>
          <p:spPr>
            <a:xfrm flipH="1">
              <a:off x="3389159" y="3378926"/>
              <a:ext cx="1" cy="506234"/>
            </a:xfrm>
            <a:prstGeom prst="line">
              <a:avLst/>
            </a:prstGeom>
            <a:noFill/>
            <a:ln w="28575" cap="rnd" cmpd="sng" algn="ctr">
              <a:solidFill>
                <a:srgbClr val="005587"/>
              </a:solidFill>
              <a:prstDash val="sysDot"/>
            </a:ln>
            <a:effectLst/>
          </p:spPr>
        </p:cxnSp>
        <p:sp>
          <p:nvSpPr>
            <p:cNvPr id="59" name="椭圆 64">
              <a:extLst>
                <a:ext uri="{FF2B5EF4-FFF2-40B4-BE49-F238E27FC236}">
                  <a16:creationId xmlns:a16="http://schemas.microsoft.com/office/drawing/2014/main" id="{F0CE14B8-E074-76D5-7EC1-DEE58D6A7A62}"/>
                </a:ext>
              </a:extLst>
            </p:cNvPr>
            <p:cNvSpPr/>
            <p:nvPr/>
          </p:nvSpPr>
          <p:spPr bwMode="gray">
            <a:xfrm>
              <a:off x="3321919" y="3329160"/>
              <a:ext cx="134480" cy="134480"/>
            </a:xfrm>
            <a:prstGeom prst="ellipse">
              <a:avLst/>
            </a:prstGeom>
            <a:solidFill>
              <a:sysClr val="window" lastClr="FFFFFF"/>
            </a:solidFill>
            <a:ln w="19050" cmpd="sng" algn="ctr">
              <a:solidFill>
                <a:srgbClr val="005587"/>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sp>
          <p:nvSpPr>
            <p:cNvPr id="60" name="等腰三角形 72">
              <a:extLst>
                <a:ext uri="{FF2B5EF4-FFF2-40B4-BE49-F238E27FC236}">
                  <a16:creationId xmlns:a16="http://schemas.microsoft.com/office/drawing/2014/main" id="{9153A102-02D6-D162-DC81-363316DFAFA4}"/>
                </a:ext>
              </a:extLst>
            </p:cNvPr>
            <p:cNvSpPr/>
            <p:nvPr/>
          </p:nvSpPr>
          <p:spPr bwMode="gray">
            <a:xfrm flipV="1">
              <a:off x="3320579" y="3137898"/>
              <a:ext cx="137160" cy="143135"/>
            </a:xfrm>
            <a:prstGeom prst="triangle">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grpSp>
      <p:grpSp>
        <p:nvGrpSpPr>
          <p:cNvPr id="61" name="组合 9">
            <a:extLst>
              <a:ext uri="{FF2B5EF4-FFF2-40B4-BE49-F238E27FC236}">
                <a16:creationId xmlns:a16="http://schemas.microsoft.com/office/drawing/2014/main" id="{72DA13E5-D611-D1D8-B157-D91C8BEDFDC6}"/>
              </a:ext>
            </a:extLst>
          </p:cNvPr>
          <p:cNvGrpSpPr/>
          <p:nvPr/>
        </p:nvGrpSpPr>
        <p:grpSpPr>
          <a:xfrm>
            <a:off x="5601200" y="1575382"/>
            <a:ext cx="999347" cy="1725178"/>
            <a:chOff x="5116282" y="2138551"/>
            <a:chExt cx="999347" cy="1725178"/>
          </a:xfrm>
        </p:grpSpPr>
        <p:sp>
          <p:nvSpPr>
            <p:cNvPr id="62" name="椭圆 77">
              <a:extLst>
                <a:ext uri="{FF2B5EF4-FFF2-40B4-BE49-F238E27FC236}">
                  <a16:creationId xmlns:a16="http://schemas.microsoft.com/office/drawing/2014/main" id="{6706F6F1-F722-7570-E7AF-76B6F6AA9B82}"/>
                </a:ext>
              </a:extLst>
            </p:cNvPr>
            <p:cNvSpPr/>
            <p:nvPr/>
          </p:nvSpPr>
          <p:spPr bwMode="gray">
            <a:xfrm>
              <a:off x="5116282" y="2138551"/>
              <a:ext cx="999347" cy="999347"/>
            </a:xfrm>
            <a:prstGeom prst="ellipse">
              <a:avLst/>
            </a:prstGeom>
            <a:noFill/>
            <a:ln w="95250" cmpd="thickThin"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cxnSp>
          <p:nvCxnSpPr>
            <p:cNvPr id="63" name="直接连接符 120">
              <a:extLst>
                <a:ext uri="{FF2B5EF4-FFF2-40B4-BE49-F238E27FC236}">
                  <a16:creationId xmlns:a16="http://schemas.microsoft.com/office/drawing/2014/main" id="{333F0169-4740-C038-1DCF-A345AF00BAC5}"/>
                </a:ext>
              </a:extLst>
            </p:cNvPr>
            <p:cNvCxnSpPr/>
            <p:nvPr/>
          </p:nvCxnSpPr>
          <p:spPr>
            <a:xfrm>
              <a:off x="5615955" y="3357495"/>
              <a:ext cx="0" cy="506234"/>
            </a:xfrm>
            <a:prstGeom prst="line">
              <a:avLst/>
            </a:prstGeom>
            <a:noFill/>
            <a:ln w="28575" cap="rnd" cmpd="sng" algn="ctr">
              <a:solidFill>
                <a:srgbClr val="A7A8AA"/>
              </a:solidFill>
              <a:prstDash val="sysDot"/>
            </a:ln>
            <a:effectLst/>
          </p:spPr>
        </p:cxnSp>
        <p:sp>
          <p:nvSpPr>
            <p:cNvPr id="64" name="椭圆 65">
              <a:extLst>
                <a:ext uri="{FF2B5EF4-FFF2-40B4-BE49-F238E27FC236}">
                  <a16:creationId xmlns:a16="http://schemas.microsoft.com/office/drawing/2014/main" id="{161567F8-2453-61F1-88F7-EDACB99EB534}"/>
                </a:ext>
              </a:extLst>
            </p:cNvPr>
            <p:cNvSpPr/>
            <p:nvPr/>
          </p:nvSpPr>
          <p:spPr bwMode="gray">
            <a:xfrm>
              <a:off x="5548715" y="3326238"/>
              <a:ext cx="134480" cy="134480"/>
            </a:xfrm>
            <a:prstGeom prst="ellipse">
              <a:avLst/>
            </a:prstGeom>
            <a:solidFill>
              <a:sysClr val="window" lastClr="FFFFFF"/>
            </a:solidFill>
            <a:ln w="19050" cmpd="sng" algn="ctr">
              <a:solidFill>
                <a:srgbClr val="A7A8AA"/>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sp>
          <p:nvSpPr>
            <p:cNvPr id="65" name="等腰三角形 74">
              <a:extLst>
                <a:ext uri="{FF2B5EF4-FFF2-40B4-BE49-F238E27FC236}">
                  <a16:creationId xmlns:a16="http://schemas.microsoft.com/office/drawing/2014/main" id="{334F67CE-78FF-335A-8844-83DA4DACBCD8}"/>
                </a:ext>
              </a:extLst>
            </p:cNvPr>
            <p:cNvSpPr/>
            <p:nvPr/>
          </p:nvSpPr>
          <p:spPr bwMode="gray">
            <a:xfrm flipV="1">
              <a:off x="5547375" y="3137898"/>
              <a:ext cx="137160" cy="143135"/>
            </a:xfrm>
            <a:prstGeom prst="triangle">
              <a:avLst/>
            </a:prstGeom>
            <a:solidFill>
              <a:srgbClr val="A7A8AA"/>
            </a:solidFill>
            <a:ln w="19050"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grpSp>
      <p:grpSp>
        <p:nvGrpSpPr>
          <p:cNvPr id="66" name="组合 11">
            <a:extLst>
              <a:ext uri="{FF2B5EF4-FFF2-40B4-BE49-F238E27FC236}">
                <a16:creationId xmlns:a16="http://schemas.microsoft.com/office/drawing/2014/main" id="{1ABFA65D-05A0-C228-8B04-69E227A0089B}"/>
              </a:ext>
            </a:extLst>
          </p:cNvPr>
          <p:cNvGrpSpPr/>
          <p:nvPr/>
        </p:nvGrpSpPr>
        <p:grpSpPr>
          <a:xfrm>
            <a:off x="8005882" y="1590564"/>
            <a:ext cx="999347" cy="1746608"/>
            <a:chOff x="7342563" y="2138551"/>
            <a:chExt cx="999347" cy="1746608"/>
          </a:xfrm>
        </p:grpSpPr>
        <p:sp>
          <p:nvSpPr>
            <p:cNvPr id="67" name="椭圆 85">
              <a:extLst>
                <a:ext uri="{FF2B5EF4-FFF2-40B4-BE49-F238E27FC236}">
                  <a16:creationId xmlns:a16="http://schemas.microsoft.com/office/drawing/2014/main" id="{8ACD6E85-3BFB-77A6-76D0-7638E9AC169E}"/>
                </a:ext>
              </a:extLst>
            </p:cNvPr>
            <p:cNvSpPr/>
            <p:nvPr/>
          </p:nvSpPr>
          <p:spPr bwMode="gray">
            <a:xfrm>
              <a:off x="7342563" y="2138551"/>
              <a:ext cx="999347" cy="999347"/>
            </a:xfrm>
            <a:prstGeom prst="ellipse">
              <a:avLst/>
            </a:prstGeom>
            <a:noFill/>
            <a:ln w="95250" cmpd="thickThin" algn="ctr">
              <a:solidFill>
                <a:srgbClr val="86BC25"/>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cxnSp>
          <p:nvCxnSpPr>
            <p:cNvPr id="68" name="直接连接符 171">
              <a:extLst>
                <a:ext uri="{FF2B5EF4-FFF2-40B4-BE49-F238E27FC236}">
                  <a16:creationId xmlns:a16="http://schemas.microsoft.com/office/drawing/2014/main" id="{3918C3F1-7BD5-8D95-F67D-DD556A87F6D6}"/>
                </a:ext>
              </a:extLst>
            </p:cNvPr>
            <p:cNvCxnSpPr/>
            <p:nvPr/>
          </p:nvCxnSpPr>
          <p:spPr>
            <a:xfrm>
              <a:off x="7842236" y="3378925"/>
              <a:ext cx="0" cy="506234"/>
            </a:xfrm>
            <a:prstGeom prst="line">
              <a:avLst/>
            </a:prstGeom>
            <a:noFill/>
            <a:ln w="28575" cap="rnd" cmpd="sng" algn="ctr">
              <a:solidFill>
                <a:srgbClr val="86BC25"/>
              </a:solidFill>
              <a:prstDash val="sysDot"/>
            </a:ln>
            <a:effectLst/>
          </p:spPr>
        </p:cxnSp>
        <p:sp>
          <p:nvSpPr>
            <p:cNvPr id="69" name="椭圆 66">
              <a:extLst>
                <a:ext uri="{FF2B5EF4-FFF2-40B4-BE49-F238E27FC236}">
                  <a16:creationId xmlns:a16="http://schemas.microsoft.com/office/drawing/2014/main" id="{F0EF8C03-B511-02C9-5AF3-50704E1EC8F4}"/>
                </a:ext>
              </a:extLst>
            </p:cNvPr>
            <p:cNvSpPr/>
            <p:nvPr/>
          </p:nvSpPr>
          <p:spPr bwMode="gray">
            <a:xfrm>
              <a:off x="7774996" y="3313113"/>
              <a:ext cx="134480" cy="134480"/>
            </a:xfrm>
            <a:prstGeom prst="ellipse">
              <a:avLst/>
            </a:prstGeom>
            <a:solidFill>
              <a:sysClr val="window" lastClr="FFFFFF"/>
            </a:solidFill>
            <a:ln w="19050" cmpd="sng" algn="ctr">
              <a:solidFill>
                <a:srgbClr val="86BC25"/>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sp>
          <p:nvSpPr>
            <p:cNvPr id="70" name="等腰三角形 76">
              <a:extLst>
                <a:ext uri="{FF2B5EF4-FFF2-40B4-BE49-F238E27FC236}">
                  <a16:creationId xmlns:a16="http://schemas.microsoft.com/office/drawing/2014/main" id="{F8744699-7846-D18B-217A-DCB593B545E9}"/>
                </a:ext>
              </a:extLst>
            </p:cNvPr>
            <p:cNvSpPr/>
            <p:nvPr/>
          </p:nvSpPr>
          <p:spPr bwMode="gray">
            <a:xfrm flipV="1">
              <a:off x="7773656" y="3137898"/>
              <a:ext cx="137160" cy="143135"/>
            </a:xfrm>
            <a:prstGeom prst="triangl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grpSp>
      <p:grpSp>
        <p:nvGrpSpPr>
          <p:cNvPr id="71" name="组合 67">
            <a:extLst>
              <a:ext uri="{FF2B5EF4-FFF2-40B4-BE49-F238E27FC236}">
                <a16:creationId xmlns:a16="http://schemas.microsoft.com/office/drawing/2014/main" id="{5BE931C6-2FA2-28E7-DE86-A0476CB802F0}"/>
              </a:ext>
            </a:extLst>
          </p:cNvPr>
          <p:cNvGrpSpPr/>
          <p:nvPr/>
        </p:nvGrpSpPr>
        <p:grpSpPr>
          <a:xfrm>
            <a:off x="10352894" y="1575503"/>
            <a:ext cx="999347" cy="1746608"/>
            <a:chOff x="7342563" y="2138551"/>
            <a:chExt cx="999347" cy="1746608"/>
          </a:xfrm>
        </p:grpSpPr>
        <p:sp>
          <p:nvSpPr>
            <p:cNvPr id="72" name="椭圆 68">
              <a:extLst>
                <a:ext uri="{FF2B5EF4-FFF2-40B4-BE49-F238E27FC236}">
                  <a16:creationId xmlns:a16="http://schemas.microsoft.com/office/drawing/2014/main" id="{1DBCD643-982B-061D-64F4-B94E4D9D2299}"/>
                </a:ext>
              </a:extLst>
            </p:cNvPr>
            <p:cNvSpPr/>
            <p:nvPr/>
          </p:nvSpPr>
          <p:spPr bwMode="gray">
            <a:xfrm>
              <a:off x="7342563" y="2138551"/>
              <a:ext cx="999347" cy="999347"/>
            </a:xfrm>
            <a:prstGeom prst="ellipse">
              <a:avLst/>
            </a:prstGeom>
            <a:noFill/>
            <a:ln w="95250" cmpd="thickThin" algn="ctr">
              <a:solidFill>
                <a:srgbClr val="43B02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cxnSp>
          <p:nvCxnSpPr>
            <p:cNvPr id="73" name="直接连接符 82">
              <a:extLst>
                <a:ext uri="{FF2B5EF4-FFF2-40B4-BE49-F238E27FC236}">
                  <a16:creationId xmlns:a16="http://schemas.microsoft.com/office/drawing/2014/main" id="{7A7F7D0B-2013-F955-07D2-9A3DD70A6B21}"/>
                </a:ext>
              </a:extLst>
            </p:cNvPr>
            <p:cNvCxnSpPr/>
            <p:nvPr/>
          </p:nvCxnSpPr>
          <p:spPr>
            <a:xfrm>
              <a:off x="7842236" y="3378925"/>
              <a:ext cx="0" cy="506234"/>
            </a:xfrm>
            <a:prstGeom prst="line">
              <a:avLst/>
            </a:prstGeom>
            <a:noFill/>
            <a:ln w="28575" cap="rnd" cmpd="sng" algn="ctr">
              <a:solidFill>
                <a:srgbClr val="43B02A"/>
              </a:solidFill>
              <a:prstDash val="sysDot"/>
            </a:ln>
            <a:effectLst/>
          </p:spPr>
        </p:cxnSp>
        <p:sp>
          <p:nvSpPr>
            <p:cNvPr id="74" name="椭圆 83">
              <a:extLst>
                <a:ext uri="{FF2B5EF4-FFF2-40B4-BE49-F238E27FC236}">
                  <a16:creationId xmlns:a16="http://schemas.microsoft.com/office/drawing/2014/main" id="{8CB7BA77-EAA0-FF92-73C7-B4221ABAE24E}"/>
                </a:ext>
              </a:extLst>
            </p:cNvPr>
            <p:cNvSpPr/>
            <p:nvPr/>
          </p:nvSpPr>
          <p:spPr bwMode="gray">
            <a:xfrm>
              <a:off x="7774996" y="3313113"/>
              <a:ext cx="134480" cy="134480"/>
            </a:xfrm>
            <a:prstGeom prst="ellipse">
              <a:avLst/>
            </a:prstGeom>
            <a:solidFill>
              <a:sysClr val="window" lastClr="FFFFFF"/>
            </a:solidFill>
            <a:ln w="19050" cmpd="sng" algn="ctr">
              <a:solidFill>
                <a:srgbClr val="43B02A"/>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sp>
          <p:nvSpPr>
            <p:cNvPr id="75" name="等腰三角形 84">
              <a:extLst>
                <a:ext uri="{FF2B5EF4-FFF2-40B4-BE49-F238E27FC236}">
                  <a16:creationId xmlns:a16="http://schemas.microsoft.com/office/drawing/2014/main" id="{86849D08-79C6-EA04-FBF6-66D8431ACFBC}"/>
                </a:ext>
              </a:extLst>
            </p:cNvPr>
            <p:cNvSpPr/>
            <p:nvPr/>
          </p:nvSpPr>
          <p:spPr bwMode="gray">
            <a:xfrm flipV="1">
              <a:off x="7773656" y="3137898"/>
              <a:ext cx="137160" cy="143135"/>
            </a:xfrm>
            <a:prstGeom prst="triangle">
              <a:avLst/>
            </a:prstGeom>
            <a:solidFill>
              <a:srgbClr val="43B02A"/>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endParaRPr>
            </a:p>
          </p:txBody>
        </p:sp>
      </p:grpSp>
      <p:cxnSp>
        <p:nvCxnSpPr>
          <p:cNvPr id="76" name="直接连接符 86">
            <a:extLst>
              <a:ext uri="{FF2B5EF4-FFF2-40B4-BE49-F238E27FC236}">
                <a16:creationId xmlns:a16="http://schemas.microsoft.com/office/drawing/2014/main" id="{746E3913-8834-B7EA-D278-94344F6CD627}"/>
              </a:ext>
            </a:extLst>
          </p:cNvPr>
          <p:cNvCxnSpPr>
            <a:cxnSpLocks/>
            <a:endCxn id="74" idx="2"/>
          </p:cNvCxnSpPr>
          <p:nvPr/>
        </p:nvCxnSpPr>
        <p:spPr>
          <a:xfrm flipV="1">
            <a:off x="8592259" y="2817305"/>
            <a:ext cx="2193068" cy="5645"/>
          </a:xfrm>
          <a:prstGeom prst="line">
            <a:avLst/>
          </a:prstGeom>
          <a:noFill/>
          <a:ln w="28575" cap="rnd" cmpd="sng" algn="ctr">
            <a:solidFill>
              <a:srgbClr val="86BC25"/>
            </a:solidFill>
            <a:prstDash val="sysDot"/>
          </a:ln>
          <a:effectLst/>
        </p:spPr>
      </p:cxnSp>
      <p:sp>
        <p:nvSpPr>
          <p:cNvPr id="77" name="文本框 88">
            <a:extLst>
              <a:ext uri="{FF2B5EF4-FFF2-40B4-BE49-F238E27FC236}">
                <a16:creationId xmlns:a16="http://schemas.microsoft.com/office/drawing/2014/main" id="{CDEFF113-6015-9F07-6C23-47E1341DAB90}"/>
              </a:ext>
            </a:extLst>
          </p:cNvPr>
          <p:cNvSpPr txBox="1"/>
          <p:nvPr/>
        </p:nvSpPr>
        <p:spPr>
          <a:xfrm>
            <a:off x="2718741" y="3419650"/>
            <a:ext cx="1901506" cy="923330"/>
          </a:xfrm>
          <a:prstGeom prst="rect">
            <a:avLst/>
          </a:prstGeom>
          <a:noFill/>
        </p:spPr>
        <p:txBody>
          <a:bodyPr vert="horz" wrap="square" lIns="0" tIns="0" rIns="0" bIns="0" rtlCol="0">
            <a:spAutoFit/>
          </a:bodyPr>
          <a:lstStyle/>
          <a:p>
            <a:pPr marL="0" marR="0" lvl="0" indent="0" algn="ctr" defTabSz="914400" eaLnBrk="1" fontAlgn="auto" latinLnBrk="0" hangingPunct="1">
              <a:lnSpc>
                <a:spcPct val="100000"/>
              </a:lnSpc>
              <a:spcBef>
                <a:spcPts val="200"/>
              </a:spcBef>
              <a:spcAft>
                <a:spcPts val="0"/>
              </a:spcAft>
              <a:buClrTx/>
              <a:buSzPct val="100000"/>
              <a:buFontTx/>
              <a:buNone/>
              <a:tabLst/>
              <a:defRPr/>
            </a:pPr>
            <a:r>
              <a:rPr lang="en-NZ" altLang="zh-CN" sz="1500" kern="0" noProof="0" dirty="0">
                <a:solidFill>
                  <a:schemeClr val="bg1"/>
                </a:solidFill>
              </a:rPr>
              <a:t>Is there a robust  f</a:t>
            </a:r>
            <a:r>
              <a:rPr kumimoji="0" lang="en-NZ" altLang="zh-CN" sz="1500" b="0" i="0" u="none" strike="noStrike" kern="0" cap="none" spc="0" normalizeH="0" baseline="0" noProof="0" dirty="0">
                <a:ln>
                  <a:noFill/>
                </a:ln>
                <a:solidFill>
                  <a:schemeClr val="bg1"/>
                </a:solidFill>
                <a:effectLst/>
                <a:uLnTx/>
                <a:uFillTx/>
              </a:rPr>
              <a:t>inancial management and provision framework?</a:t>
            </a:r>
          </a:p>
        </p:txBody>
      </p:sp>
      <p:sp>
        <p:nvSpPr>
          <p:cNvPr id="78" name="文本框 89">
            <a:extLst>
              <a:ext uri="{FF2B5EF4-FFF2-40B4-BE49-F238E27FC236}">
                <a16:creationId xmlns:a16="http://schemas.microsoft.com/office/drawing/2014/main" id="{344DBFFC-C3E1-F0A5-83D9-B708197E7855}"/>
              </a:ext>
            </a:extLst>
          </p:cNvPr>
          <p:cNvSpPr txBox="1"/>
          <p:nvPr/>
        </p:nvSpPr>
        <p:spPr>
          <a:xfrm>
            <a:off x="5044777" y="3419650"/>
            <a:ext cx="2090852" cy="1179810"/>
          </a:xfrm>
          <a:prstGeom prst="rect">
            <a:avLst/>
          </a:prstGeom>
          <a:noFill/>
        </p:spPr>
        <p:txBody>
          <a:bodyPr vert="horz" wrap="square" lIns="0" tIns="0" rIns="0" bIns="0" rtlCol="0">
            <a:spAutoFit/>
          </a:bodyPr>
          <a:lstStyle/>
          <a:p>
            <a:pPr marL="0" marR="0" lvl="0" indent="0" algn="ctr" defTabSz="914400" eaLnBrk="1" fontAlgn="auto" latinLnBrk="0" hangingPunct="1">
              <a:lnSpc>
                <a:spcPct val="100000"/>
              </a:lnSpc>
              <a:spcBef>
                <a:spcPts val="200"/>
              </a:spcBef>
              <a:spcAft>
                <a:spcPts val="0"/>
              </a:spcAft>
              <a:buClrTx/>
              <a:buSzPct val="100000"/>
              <a:buFontTx/>
              <a:buNone/>
              <a:tabLst/>
              <a:defRPr/>
            </a:pPr>
            <a:r>
              <a:rPr kumimoji="0" lang="en-NZ" altLang="zh-CN" sz="1500" b="0" i="0" u="none" strike="noStrike" kern="0" cap="none" spc="0" normalizeH="0" baseline="0" noProof="0" dirty="0">
                <a:ln>
                  <a:noFill/>
                </a:ln>
                <a:solidFill>
                  <a:schemeClr val="bg1"/>
                </a:solidFill>
                <a:effectLst/>
                <a:uLnTx/>
                <a:uFillTx/>
              </a:rPr>
              <a:t>How are risks managed and confidence provided through the life</a:t>
            </a:r>
            <a:r>
              <a:rPr kumimoji="0" lang="en-NZ" altLang="zh-CN" sz="1500" b="0" i="0" u="none" strike="noStrike" kern="0" cap="none" spc="0" normalizeH="0" noProof="0" dirty="0">
                <a:ln>
                  <a:noFill/>
                </a:ln>
                <a:solidFill>
                  <a:schemeClr val="bg1"/>
                </a:solidFill>
                <a:effectLst/>
                <a:uLnTx/>
                <a:uFillTx/>
              </a:rPr>
              <a:t> of remediation? </a:t>
            </a:r>
            <a:endParaRPr kumimoji="0" lang="en-NZ" altLang="zh-CN" sz="1500" b="0" i="0" u="none" strike="noStrike" kern="0" cap="none" spc="0" normalizeH="0" baseline="0" noProof="0" dirty="0">
              <a:ln>
                <a:noFill/>
              </a:ln>
              <a:solidFill>
                <a:schemeClr val="bg1"/>
              </a:solidFill>
              <a:effectLst/>
              <a:uLnTx/>
              <a:uFillTx/>
            </a:endParaRPr>
          </a:p>
          <a:p>
            <a:pPr marL="0" marR="0" lvl="0" indent="0" algn="ctr" defTabSz="914400" eaLnBrk="1" fontAlgn="auto" latinLnBrk="0" hangingPunct="1">
              <a:lnSpc>
                <a:spcPct val="100000"/>
              </a:lnSpc>
              <a:spcBef>
                <a:spcPts val="200"/>
              </a:spcBef>
              <a:spcAft>
                <a:spcPts val="0"/>
              </a:spcAft>
              <a:buClrTx/>
              <a:buSzPct val="100000"/>
              <a:buFontTx/>
              <a:buNone/>
              <a:tabLst/>
              <a:defRPr/>
            </a:pPr>
            <a:endParaRPr kumimoji="0" lang="en-US" sz="1500" b="0" i="0" u="none" strike="noStrike" kern="0" cap="none" spc="0" normalizeH="0" baseline="0" noProof="0" dirty="0">
              <a:ln>
                <a:noFill/>
              </a:ln>
              <a:solidFill>
                <a:schemeClr val="bg1"/>
              </a:solidFill>
              <a:effectLst/>
              <a:uLnTx/>
              <a:uFillTx/>
            </a:endParaRPr>
          </a:p>
        </p:txBody>
      </p:sp>
      <p:sp>
        <p:nvSpPr>
          <p:cNvPr id="79" name="文本框 90">
            <a:extLst>
              <a:ext uri="{FF2B5EF4-FFF2-40B4-BE49-F238E27FC236}">
                <a16:creationId xmlns:a16="http://schemas.microsoft.com/office/drawing/2014/main" id="{380F6FC8-64C3-6CBD-397F-42FD12D6A580}"/>
              </a:ext>
            </a:extLst>
          </p:cNvPr>
          <p:cNvSpPr txBox="1"/>
          <p:nvPr/>
        </p:nvSpPr>
        <p:spPr>
          <a:xfrm>
            <a:off x="7665934" y="3419650"/>
            <a:ext cx="1761081" cy="718145"/>
          </a:xfrm>
          <a:prstGeom prst="rect">
            <a:avLst/>
          </a:prstGeom>
          <a:noFill/>
        </p:spPr>
        <p:txBody>
          <a:bodyPr vert="horz" wrap="square" lIns="0" tIns="0" rIns="0" bIns="0" rtlCol="0">
            <a:spAutoFit/>
          </a:bodyPr>
          <a:lstStyle/>
          <a:p>
            <a:pPr marL="0" marR="0" lvl="0" indent="0" algn="ctr" defTabSz="914400" eaLnBrk="1" fontAlgn="auto" latinLnBrk="0" hangingPunct="1">
              <a:lnSpc>
                <a:spcPct val="100000"/>
              </a:lnSpc>
              <a:spcBef>
                <a:spcPts val="200"/>
              </a:spcBef>
              <a:spcAft>
                <a:spcPts val="0"/>
              </a:spcAft>
              <a:buClrTx/>
              <a:buSzPct val="100000"/>
              <a:buFontTx/>
              <a:buNone/>
              <a:tabLst/>
              <a:defRPr/>
            </a:pPr>
            <a:r>
              <a:rPr kumimoji="0" lang="en-US" altLang="zh-CN" sz="1500" b="0" i="0" u="none" strike="noStrike" kern="0" cap="none" spc="0" normalizeH="0" baseline="0" noProof="0" dirty="0">
                <a:ln>
                  <a:noFill/>
                </a:ln>
                <a:solidFill>
                  <a:schemeClr val="bg1"/>
                </a:solidFill>
                <a:effectLst/>
                <a:uLnTx/>
                <a:uFillTx/>
              </a:rPr>
              <a:t>How is</a:t>
            </a:r>
            <a:r>
              <a:rPr kumimoji="0" lang="en-US" altLang="zh-CN" sz="1500" b="0" i="0" u="none" strike="noStrike" kern="0" cap="none" spc="0" normalizeH="0" noProof="0" dirty="0">
                <a:ln>
                  <a:noFill/>
                </a:ln>
                <a:solidFill>
                  <a:schemeClr val="bg1"/>
                </a:solidFill>
                <a:effectLst/>
                <a:uLnTx/>
                <a:uFillTx/>
              </a:rPr>
              <a:t> information cascaded?</a:t>
            </a:r>
            <a:endParaRPr kumimoji="0" lang="en-US" altLang="zh-CN" sz="1500" b="0" i="0" u="none" strike="noStrike" kern="0" cap="none" spc="0" normalizeH="0" baseline="0" noProof="0" dirty="0">
              <a:ln>
                <a:noFill/>
              </a:ln>
              <a:solidFill>
                <a:schemeClr val="bg1"/>
              </a:solidFill>
              <a:effectLst/>
              <a:uLnTx/>
              <a:uFillTx/>
            </a:endParaRPr>
          </a:p>
          <a:p>
            <a:pPr marL="0" marR="0" lvl="0" indent="0" algn="ctr" defTabSz="914400" eaLnBrk="1" fontAlgn="auto" latinLnBrk="0" hangingPunct="1">
              <a:lnSpc>
                <a:spcPct val="100000"/>
              </a:lnSpc>
              <a:spcBef>
                <a:spcPts val="200"/>
              </a:spcBef>
              <a:spcAft>
                <a:spcPts val="0"/>
              </a:spcAft>
              <a:buClrTx/>
              <a:buSzPct val="100000"/>
              <a:buFontTx/>
              <a:buNone/>
              <a:tabLst/>
              <a:defRPr/>
            </a:pPr>
            <a:endParaRPr kumimoji="0" lang="en-US" sz="1500" b="0" i="0" u="none" strike="noStrike" kern="0" cap="none" spc="0" normalizeH="0" baseline="0" noProof="0" dirty="0">
              <a:ln>
                <a:noFill/>
              </a:ln>
              <a:solidFill>
                <a:schemeClr val="bg1"/>
              </a:solidFill>
              <a:effectLst/>
              <a:uLnTx/>
              <a:uFillTx/>
            </a:endParaRPr>
          </a:p>
        </p:txBody>
      </p:sp>
      <p:sp>
        <p:nvSpPr>
          <p:cNvPr id="80" name="文本框 91">
            <a:extLst>
              <a:ext uri="{FF2B5EF4-FFF2-40B4-BE49-F238E27FC236}">
                <a16:creationId xmlns:a16="http://schemas.microsoft.com/office/drawing/2014/main" id="{17F42A5F-7B6C-C361-F921-3D089FEF91B6}"/>
              </a:ext>
            </a:extLst>
          </p:cNvPr>
          <p:cNvSpPr txBox="1"/>
          <p:nvPr/>
        </p:nvSpPr>
        <p:spPr>
          <a:xfrm>
            <a:off x="9776638" y="3421431"/>
            <a:ext cx="1899847" cy="1154162"/>
          </a:xfrm>
          <a:prstGeom prst="rect">
            <a:avLst/>
          </a:prstGeom>
          <a:noFill/>
        </p:spPr>
        <p:txBody>
          <a:bodyPr vert="horz" wrap="square" lIns="0" tIns="0" rIns="0" bIns="0" rtlCol="0">
            <a:spAutoFit/>
          </a:bodyPr>
          <a:lstStyle/>
          <a:p>
            <a:pPr marL="0" marR="0" lvl="0" indent="0" algn="ctr" defTabSz="914400" eaLnBrk="1" fontAlgn="auto" latinLnBrk="0" hangingPunct="1">
              <a:lnSpc>
                <a:spcPct val="100000"/>
              </a:lnSpc>
              <a:spcBef>
                <a:spcPts val="200"/>
              </a:spcBef>
              <a:spcAft>
                <a:spcPts val="0"/>
              </a:spcAft>
              <a:buClrTx/>
              <a:buSzPct val="100000"/>
              <a:buFontTx/>
              <a:buNone/>
              <a:tabLst/>
              <a:defRPr/>
            </a:pPr>
            <a:r>
              <a:rPr kumimoji="0" lang="en-NZ" altLang="zh-CN" sz="1500" b="0" i="0" u="none" strike="noStrike" kern="0" cap="none" spc="0" normalizeH="0" baseline="0" noProof="0" dirty="0">
                <a:ln>
                  <a:noFill/>
                </a:ln>
                <a:solidFill>
                  <a:schemeClr val="bg1"/>
                </a:solidFill>
                <a:effectLst/>
                <a:uLnTx/>
                <a:uFillTx/>
              </a:rPr>
              <a:t>How are activities</a:t>
            </a:r>
            <a:r>
              <a:rPr kumimoji="0" lang="en-NZ" altLang="zh-CN" sz="1500" b="0" i="0" u="none" strike="noStrike" kern="0" cap="none" spc="0" normalizeH="0" noProof="0" dirty="0">
                <a:ln>
                  <a:noFill/>
                </a:ln>
                <a:solidFill>
                  <a:schemeClr val="bg1"/>
                </a:solidFill>
                <a:effectLst/>
                <a:uLnTx/>
                <a:uFillTx/>
              </a:rPr>
              <a:t> efficiently &amp; effectively  choregraphed (internally and with external stakeholders)? </a:t>
            </a:r>
            <a:endParaRPr kumimoji="0" lang="en-NZ" altLang="zh-CN" sz="1500" b="0" i="0" u="none" strike="noStrike" kern="0" cap="none" spc="0" normalizeH="0" baseline="0" noProof="0" dirty="0">
              <a:ln>
                <a:noFill/>
              </a:ln>
              <a:solidFill>
                <a:schemeClr val="bg1"/>
              </a:solidFill>
              <a:effectLst/>
              <a:uLnTx/>
              <a:uFillTx/>
            </a:endParaRPr>
          </a:p>
        </p:txBody>
      </p:sp>
      <p:grpSp>
        <p:nvGrpSpPr>
          <p:cNvPr id="96" name="Graphic 4">
            <a:extLst>
              <a:ext uri="{FF2B5EF4-FFF2-40B4-BE49-F238E27FC236}">
                <a16:creationId xmlns:a16="http://schemas.microsoft.com/office/drawing/2014/main" id="{4AEAF55B-69FA-D9E9-66B2-40516B83BC57}"/>
              </a:ext>
            </a:extLst>
          </p:cNvPr>
          <p:cNvGrpSpPr/>
          <p:nvPr/>
        </p:nvGrpSpPr>
        <p:grpSpPr>
          <a:xfrm>
            <a:off x="1173048" y="1781438"/>
            <a:ext cx="538511" cy="550619"/>
            <a:chOff x="6837232" y="3900137"/>
            <a:chExt cx="194893" cy="210033"/>
          </a:xfrm>
          <a:solidFill>
            <a:srgbClr val="00A3E0"/>
          </a:solidFill>
        </p:grpSpPr>
        <p:sp>
          <p:nvSpPr>
            <p:cNvPr id="97" name="Graphic 4">
              <a:extLst>
                <a:ext uri="{FF2B5EF4-FFF2-40B4-BE49-F238E27FC236}">
                  <a16:creationId xmlns:a16="http://schemas.microsoft.com/office/drawing/2014/main" id="{C601AD67-0B76-7C09-19B9-F46726CEB3ED}"/>
                </a:ext>
              </a:extLst>
            </p:cNvPr>
            <p:cNvSpPr/>
            <p:nvPr/>
          </p:nvSpPr>
          <p:spPr>
            <a:xfrm>
              <a:off x="6837232" y="3900137"/>
              <a:ext cx="194893" cy="210033"/>
            </a:xfrm>
            <a:custGeom>
              <a:avLst/>
              <a:gdLst>
                <a:gd name="connsiteX0" fmla="*/ 188503 w 194893"/>
                <a:gd name="connsiteY0" fmla="*/ 15322 h 210033"/>
                <a:gd name="connsiteX1" fmla="*/ 149525 w 194893"/>
                <a:gd name="connsiteY1" fmla="*/ 15322 h 210033"/>
                <a:gd name="connsiteX2" fmla="*/ 149525 w 194893"/>
                <a:gd name="connsiteY2" fmla="*/ 6384 h 210033"/>
                <a:gd name="connsiteX3" fmla="*/ 143135 w 194893"/>
                <a:gd name="connsiteY3" fmla="*/ 0 h 210033"/>
                <a:gd name="connsiteX4" fmla="*/ 136745 w 194893"/>
                <a:gd name="connsiteY4" fmla="*/ 6384 h 210033"/>
                <a:gd name="connsiteX5" fmla="*/ 136745 w 194893"/>
                <a:gd name="connsiteY5" fmla="*/ 15322 h 210033"/>
                <a:gd name="connsiteX6" fmla="*/ 58148 w 194893"/>
                <a:gd name="connsiteY6" fmla="*/ 15322 h 210033"/>
                <a:gd name="connsiteX7" fmla="*/ 58148 w 194893"/>
                <a:gd name="connsiteY7" fmla="*/ 6384 h 210033"/>
                <a:gd name="connsiteX8" fmla="*/ 51758 w 194893"/>
                <a:gd name="connsiteY8" fmla="*/ 0 h 210033"/>
                <a:gd name="connsiteX9" fmla="*/ 45368 w 194893"/>
                <a:gd name="connsiteY9" fmla="*/ 6384 h 210033"/>
                <a:gd name="connsiteX10" fmla="*/ 45368 w 194893"/>
                <a:gd name="connsiteY10" fmla="*/ 15322 h 210033"/>
                <a:gd name="connsiteX11" fmla="*/ 6390 w 194893"/>
                <a:gd name="connsiteY11" fmla="*/ 15322 h 210033"/>
                <a:gd name="connsiteX12" fmla="*/ 0 w 194893"/>
                <a:gd name="connsiteY12" fmla="*/ 21706 h 210033"/>
                <a:gd name="connsiteX13" fmla="*/ 0 w 194893"/>
                <a:gd name="connsiteY13" fmla="*/ 203649 h 210033"/>
                <a:gd name="connsiteX14" fmla="*/ 6390 w 194893"/>
                <a:gd name="connsiteY14" fmla="*/ 210033 h 210033"/>
                <a:gd name="connsiteX15" fmla="*/ 188503 w 194893"/>
                <a:gd name="connsiteY15" fmla="*/ 210033 h 210033"/>
                <a:gd name="connsiteX16" fmla="*/ 194893 w 194893"/>
                <a:gd name="connsiteY16" fmla="*/ 203649 h 210033"/>
                <a:gd name="connsiteX17" fmla="*/ 194893 w 194893"/>
                <a:gd name="connsiteY17" fmla="*/ 21706 h 210033"/>
                <a:gd name="connsiteX18" fmla="*/ 188503 w 194893"/>
                <a:gd name="connsiteY18" fmla="*/ 15322 h 210033"/>
                <a:gd name="connsiteX19" fmla="*/ 188503 w 194893"/>
                <a:gd name="connsiteY19" fmla="*/ 15322 h 210033"/>
                <a:gd name="connsiteX20" fmla="*/ 182113 w 194893"/>
                <a:gd name="connsiteY20" fmla="*/ 197265 h 210033"/>
                <a:gd name="connsiteX21" fmla="*/ 12780 w 194893"/>
                <a:gd name="connsiteY21" fmla="*/ 197265 h 210033"/>
                <a:gd name="connsiteX22" fmla="*/ 12780 w 194893"/>
                <a:gd name="connsiteY22" fmla="*/ 28090 h 210033"/>
                <a:gd name="connsiteX23" fmla="*/ 45368 w 194893"/>
                <a:gd name="connsiteY23" fmla="*/ 28090 h 210033"/>
                <a:gd name="connsiteX24" fmla="*/ 45368 w 194893"/>
                <a:gd name="connsiteY24" fmla="*/ 37027 h 210033"/>
                <a:gd name="connsiteX25" fmla="*/ 51758 w 194893"/>
                <a:gd name="connsiteY25" fmla="*/ 43411 h 210033"/>
                <a:gd name="connsiteX26" fmla="*/ 58148 w 194893"/>
                <a:gd name="connsiteY26" fmla="*/ 37027 h 210033"/>
                <a:gd name="connsiteX27" fmla="*/ 58148 w 194893"/>
                <a:gd name="connsiteY27" fmla="*/ 28090 h 210033"/>
                <a:gd name="connsiteX28" fmla="*/ 136745 w 194893"/>
                <a:gd name="connsiteY28" fmla="*/ 28090 h 210033"/>
                <a:gd name="connsiteX29" fmla="*/ 136745 w 194893"/>
                <a:gd name="connsiteY29" fmla="*/ 37027 h 210033"/>
                <a:gd name="connsiteX30" fmla="*/ 143135 w 194893"/>
                <a:gd name="connsiteY30" fmla="*/ 43411 h 210033"/>
                <a:gd name="connsiteX31" fmla="*/ 149525 w 194893"/>
                <a:gd name="connsiteY31" fmla="*/ 37027 h 210033"/>
                <a:gd name="connsiteX32" fmla="*/ 149525 w 194893"/>
                <a:gd name="connsiteY32" fmla="*/ 28090 h 210033"/>
                <a:gd name="connsiteX33" fmla="*/ 182113 w 194893"/>
                <a:gd name="connsiteY33" fmla="*/ 28090 h 210033"/>
                <a:gd name="connsiteX34" fmla="*/ 182113 w 194893"/>
                <a:gd name="connsiteY34" fmla="*/ 197265 h 210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4893" h="210033">
                  <a:moveTo>
                    <a:pt x="188503" y="15322"/>
                  </a:moveTo>
                  <a:lnTo>
                    <a:pt x="149525" y="15322"/>
                  </a:lnTo>
                  <a:lnTo>
                    <a:pt x="149525" y="6384"/>
                  </a:lnTo>
                  <a:cubicBezTo>
                    <a:pt x="149525" y="2554"/>
                    <a:pt x="146969" y="0"/>
                    <a:pt x="143135" y="0"/>
                  </a:cubicBezTo>
                  <a:cubicBezTo>
                    <a:pt x="139301" y="0"/>
                    <a:pt x="136745" y="2554"/>
                    <a:pt x="136745" y="6384"/>
                  </a:cubicBezTo>
                  <a:lnTo>
                    <a:pt x="136745" y="15322"/>
                  </a:lnTo>
                  <a:lnTo>
                    <a:pt x="58148" y="15322"/>
                  </a:lnTo>
                  <a:lnTo>
                    <a:pt x="58148" y="6384"/>
                  </a:lnTo>
                  <a:cubicBezTo>
                    <a:pt x="58148" y="2554"/>
                    <a:pt x="55592" y="0"/>
                    <a:pt x="51758" y="0"/>
                  </a:cubicBezTo>
                  <a:cubicBezTo>
                    <a:pt x="47925" y="0"/>
                    <a:pt x="45368" y="2554"/>
                    <a:pt x="45368" y="6384"/>
                  </a:cubicBezTo>
                  <a:lnTo>
                    <a:pt x="45368" y="15322"/>
                  </a:lnTo>
                  <a:lnTo>
                    <a:pt x="6390" y="15322"/>
                  </a:lnTo>
                  <a:cubicBezTo>
                    <a:pt x="2556" y="15322"/>
                    <a:pt x="0" y="17875"/>
                    <a:pt x="0" y="21706"/>
                  </a:cubicBezTo>
                  <a:lnTo>
                    <a:pt x="0" y="203649"/>
                  </a:lnTo>
                  <a:cubicBezTo>
                    <a:pt x="0" y="207479"/>
                    <a:pt x="2556" y="210033"/>
                    <a:pt x="6390" y="210033"/>
                  </a:cubicBezTo>
                  <a:lnTo>
                    <a:pt x="188503" y="210033"/>
                  </a:lnTo>
                  <a:cubicBezTo>
                    <a:pt x="192337" y="210033"/>
                    <a:pt x="194893" y="207479"/>
                    <a:pt x="194893" y="203649"/>
                  </a:cubicBezTo>
                  <a:lnTo>
                    <a:pt x="194893" y="21706"/>
                  </a:lnTo>
                  <a:cubicBezTo>
                    <a:pt x="194893" y="17875"/>
                    <a:pt x="192337" y="15322"/>
                    <a:pt x="188503" y="15322"/>
                  </a:cubicBezTo>
                  <a:cubicBezTo>
                    <a:pt x="188503" y="15322"/>
                    <a:pt x="188503" y="15322"/>
                    <a:pt x="188503" y="15322"/>
                  </a:cubicBezTo>
                  <a:close/>
                  <a:moveTo>
                    <a:pt x="182113" y="197265"/>
                  </a:moveTo>
                  <a:lnTo>
                    <a:pt x="12780" y="197265"/>
                  </a:lnTo>
                  <a:lnTo>
                    <a:pt x="12780" y="28090"/>
                  </a:lnTo>
                  <a:lnTo>
                    <a:pt x="45368" y="28090"/>
                  </a:lnTo>
                  <a:lnTo>
                    <a:pt x="45368" y="37027"/>
                  </a:lnTo>
                  <a:cubicBezTo>
                    <a:pt x="45368" y="40858"/>
                    <a:pt x="47925" y="43411"/>
                    <a:pt x="51758" y="43411"/>
                  </a:cubicBezTo>
                  <a:cubicBezTo>
                    <a:pt x="55592" y="43411"/>
                    <a:pt x="58148" y="40858"/>
                    <a:pt x="58148" y="37027"/>
                  </a:cubicBezTo>
                  <a:lnTo>
                    <a:pt x="58148" y="28090"/>
                  </a:lnTo>
                  <a:lnTo>
                    <a:pt x="136745" y="28090"/>
                  </a:lnTo>
                  <a:lnTo>
                    <a:pt x="136745" y="37027"/>
                  </a:lnTo>
                  <a:cubicBezTo>
                    <a:pt x="136745" y="40858"/>
                    <a:pt x="139301" y="43411"/>
                    <a:pt x="143135" y="43411"/>
                  </a:cubicBezTo>
                  <a:cubicBezTo>
                    <a:pt x="146969" y="43411"/>
                    <a:pt x="149525" y="40858"/>
                    <a:pt x="149525" y="37027"/>
                  </a:cubicBezTo>
                  <a:lnTo>
                    <a:pt x="149525" y="28090"/>
                  </a:lnTo>
                  <a:lnTo>
                    <a:pt x="182113" y="28090"/>
                  </a:lnTo>
                  <a:lnTo>
                    <a:pt x="182113" y="19726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98" name="Graphic 4">
              <a:extLst>
                <a:ext uri="{FF2B5EF4-FFF2-40B4-BE49-F238E27FC236}">
                  <a16:creationId xmlns:a16="http://schemas.microsoft.com/office/drawing/2014/main" id="{6256B27B-5BD2-C779-7159-CE02C4A827B8}"/>
                </a:ext>
              </a:extLst>
            </p:cNvPr>
            <p:cNvSpPr/>
            <p:nvPr/>
          </p:nvSpPr>
          <p:spPr>
            <a:xfrm>
              <a:off x="6877489" y="3977383"/>
              <a:ext cx="107351" cy="75969"/>
            </a:xfrm>
            <a:custGeom>
              <a:avLst/>
              <a:gdLst>
                <a:gd name="connsiteX0" fmla="*/ 96488 w 107351"/>
                <a:gd name="connsiteY0" fmla="*/ 1915 h 75969"/>
                <a:gd name="connsiteX1" fmla="*/ 37701 w 107351"/>
                <a:gd name="connsiteY1" fmla="*/ 60648 h 75969"/>
                <a:gd name="connsiteX2" fmla="*/ 10863 w 107351"/>
                <a:gd name="connsiteY2" fmla="*/ 33835 h 75969"/>
                <a:gd name="connsiteX3" fmla="*/ 1917 w 107351"/>
                <a:gd name="connsiteY3" fmla="*/ 33835 h 75969"/>
                <a:gd name="connsiteX4" fmla="*/ 1917 w 107351"/>
                <a:gd name="connsiteY4" fmla="*/ 33835 h 75969"/>
                <a:gd name="connsiteX5" fmla="*/ 1917 w 107351"/>
                <a:gd name="connsiteY5" fmla="*/ 42773 h 75969"/>
                <a:gd name="connsiteX6" fmla="*/ 33228 w 107351"/>
                <a:gd name="connsiteY6" fmla="*/ 74054 h 75969"/>
                <a:gd name="connsiteX7" fmla="*/ 42174 w 107351"/>
                <a:gd name="connsiteY7" fmla="*/ 74054 h 75969"/>
                <a:gd name="connsiteX8" fmla="*/ 42174 w 107351"/>
                <a:gd name="connsiteY8" fmla="*/ 74054 h 75969"/>
                <a:gd name="connsiteX9" fmla="*/ 105435 w 107351"/>
                <a:gd name="connsiteY9" fmla="*/ 10853 h 75969"/>
                <a:gd name="connsiteX10" fmla="*/ 105435 w 107351"/>
                <a:gd name="connsiteY10" fmla="*/ 1915 h 75969"/>
                <a:gd name="connsiteX11" fmla="*/ 96488 w 107351"/>
                <a:gd name="connsiteY11" fmla="*/ 1915 h 75969"/>
                <a:gd name="connsiteX12" fmla="*/ 96488 w 107351"/>
                <a:gd name="connsiteY12" fmla="*/ 1915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351" h="75969">
                  <a:moveTo>
                    <a:pt x="96488" y="1915"/>
                  </a:moveTo>
                  <a:lnTo>
                    <a:pt x="37701" y="60648"/>
                  </a:lnTo>
                  <a:lnTo>
                    <a:pt x="10863" y="33835"/>
                  </a:lnTo>
                  <a:cubicBezTo>
                    <a:pt x="8307" y="31281"/>
                    <a:pt x="4473" y="31281"/>
                    <a:pt x="1917" y="33835"/>
                  </a:cubicBezTo>
                  <a:cubicBezTo>
                    <a:pt x="1917" y="33835"/>
                    <a:pt x="1917" y="33835"/>
                    <a:pt x="1917" y="33835"/>
                  </a:cubicBezTo>
                  <a:cubicBezTo>
                    <a:pt x="-639" y="36389"/>
                    <a:pt x="-639" y="40219"/>
                    <a:pt x="1917" y="42773"/>
                  </a:cubicBezTo>
                  <a:lnTo>
                    <a:pt x="33228" y="74054"/>
                  </a:lnTo>
                  <a:cubicBezTo>
                    <a:pt x="35784" y="76608"/>
                    <a:pt x="39618" y="76608"/>
                    <a:pt x="42174" y="74054"/>
                  </a:cubicBezTo>
                  <a:cubicBezTo>
                    <a:pt x="42174" y="74054"/>
                    <a:pt x="42174" y="74054"/>
                    <a:pt x="42174" y="74054"/>
                  </a:cubicBezTo>
                  <a:lnTo>
                    <a:pt x="105435" y="10853"/>
                  </a:lnTo>
                  <a:cubicBezTo>
                    <a:pt x="107990" y="8299"/>
                    <a:pt x="107990" y="4469"/>
                    <a:pt x="105435" y="1915"/>
                  </a:cubicBezTo>
                  <a:cubicBezTo>
                    <a:pt x="102878" y="-638"/>
                    <a:pt x="99045" y="-638"/>
                    <a:pt x="96488" y="1915"/>
                  </a:cubicBezTo>
                  <a:cubicBezTo>
                    <a:pt x="96488" y="1277"/>
                    <a:pt x="96488" y="1277"/>
                    <a:pt x="96488" y="191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104" name="Graphic 4">
            <a:extLst>
              <a:ext uri="{FF2B5EF4-FFF2-40B4-BE49-F238E27FC236}">
                <a16:creationId xmlns:a16="http://schemas.microsoft.com/office/drawing/2014/main" id="{E4836E34-A3E0-F38C-E068-9A64ACB15F75}"/>
              </a:ext>
            </a:extLst>
          </p:cNvPr>
          <p:cNvGrpSpPr/>
          <p:nvPr/>
        </p:nvGrpSpPr>
        <p:grpSpPr>
          <a:xfrm>
            <a:off x="3470341" y="1798690"/>
            <a:ext cx="619738" cy="592354"/>
            <a:chOff x="7876875" y="3417508"/>
            <a:chExt cx="224287" cy="206202"/>
          </a:xfrm>
          <a:solidFill>
            <a:srgbClr val="005587"/>
          </a:solidFill>
        </p:grpSpPr>
        <p:sp>
          <p:nvSpPr>
            <p:cNvPr id="106" name="Graphic 4">
              <a:extLst>
                <a:ext uri="{FF2B5EF4-FFF2-40B4-BE49-F238E27FC236}">
                  <a16:creationId xmlns:a16="http://schemas.microsoft.com/office/drawing/2014/main" id="{55C074A8-2371-88D2-63BF-9F860C56FEC4}"/>
                </a:ext>
              </a:extLst>
            </p:cNvPr>
            <p:cNvSpPr/>
            <p:nvPr/>
          </p:nvSpPr>
          <p:spPr>
            <a:xfrm>
              <a:off x="7956749" y="3479433"/>
              <a:ext cx="144413" cy="144277"/>
            </a:xfrm>
            <a:custGeom>
              <a:avLst/>
              <a:gdLst>
                <a:gd name="connsiteX0" fmla="*/ 72207 w 144413"/>
                <a:gd name="connsiteY0" fmla="*/ 0 h 144277"/>
                <a:gd name="connsiteX1" fmla="*/ 0 w 144413"/>
                <a:gd name="connsiteY1" fmla="*/ 72139 h 144277"/>
                <a:gd name="connsiteX2" fmla="*/ 72207 w 144413"/>
                <a:gd name="connsiteY2" fmla="*/ 144278 h 144277"/>
                <a:gd name="connsiteX3" fmla="*/ 144413 w 144413"/>
                <a:gd name="connsiteY3" fmla="*/ 72139 h 144277"/>
                <a:gd name="connsiteX4" fmla="*/ 72207 w 144413"/>
                <a:gd name="connsiteY4" fmla="*/ 0 h 144277"/>
                <a:gd name="connsiteX5" fmla="*/ 72207 w 144413"/>
                <a:gd name="connsiteY5" fmla="*/ 131510 h 144277"/>
                <a:gd name="connsiteX6" fmla="*/ 12780 w 144413"/>
                <a:gd name="connsiteY6" fmla="*/ 72139 h 144277"/>
                <a:gd name="connsiteX7" fmla="*/ 72207 w 144413"/>
                <a:gd name="connsiteY7" fmla="*/ 12768 h 144277"/>
                <a:gd name="connsiteX8" fmla="*/ 131633 w 144413"/>
                <a:gd name="connsiteY8" fmla="*/ 72139 h 144277"/>
                <a:gd name="connsiteX9" fmla="*/ 72207 w 144413"/>
                <a:gd name="connsiteY9" fmla="*/ 131510 h 14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413" h="144277">
                  <a:moveTo>
                    <a:pt x="72207" y="0"/>
                  </a:moveTo>
                  <a:cubicBezTo>
                    <a:pt x="32589" y="0"/>
                    <a:pt x="0" y="32558"/>
                    <a:pt x="0" y="72139"/>
                  </a:cubicBezTo>
                  <a:cubicBezTo>
                    <a:pt x="0" y="111720"/>
                    <a:pt x="32589" y="144278"/>
                    <a:pt x="72207" y="144278"/>
                  </a:cubicBezTo>
                  <a:cubicBezTo>
                    <a:pt x="111824" y="144278"/>
                    <a:pt x="144413" y="111720"/>
                    <a:pt x="144413" y="72139"/>
                  </a:cubicBezTo>
                  <a:cubicBezTo>
                    <a:pt x="144413" y="32558"/>
                    <a:pt x="112464" y="0"/>
                    <a:pt x="72207" y="0"/>
                  </a:cubicBezTo>
                  <a:close/>
                  <a:moveTo>
                    <a:pt x="72207" y="131510"/>
                  </a:moveTo>
                  <a:cubicBezTo>
                    <a:pt x="39618" y="131510"/>
                    <a:pt x="12780" y="104697"/>
                    <a:pt x="12780" y="72139"/>
                  </a:cubicBezTo>
                  <a:cubicBezTo>
                    <a:pt x="12780" y="39580"/>
                    <a:pt x="39618" y="12768"/>
                    <a:pt x="72207" y="12768"/>
                  </a:cubicBezTo>
                  <a:cubicBezTo>
                    <a:pt x="104795" y="12768"/>
                    <a:pt x="131633" y="39580"/>
                    <a:pt x="131633" y="72139"/>
                  </a:cubicBezTo>
                  <a:cubicBezTo>
                    <a:pt x="131633" y="104697"/>
                    <a:pt x="105434" y="131510"/>
                    <a:pt x="72207" y="131510"/>
                  </a:cubicBezTo>
                  <a:close/>
                </a:path>
              </a:pathLst>
            </a:custGeom>
            <a:grpFill/>
            <a:ln w="6390" cap="flat">
              <a:noFill/>
              <a:prstDash val="solid"/>
              <a:miter/>
            </a:ln>
          </p:spPr>
          <p:txBody>
            <a:bodyPr rtlCol="0" anchor="ctr"/>
            <a:lstStyle/>
            <a:p>
              <a:endParaRPr lang="en-US" dirty="0"/>
            </a:p>
          </p:txBody>
        </p:sp>
        <p:sp>
          <p:nvSpPr>
            <p:cNvPr id="107" name="Graphic 4">
              <a:extLst>
                <a:ext uri="{FF2B5EF4-FFF2-40B4-BE49-F238E27FC236}">
                  <a16:creationId xmlns:a16="http://schemas.microsoft.com/office/drawing/2014/main" id="{04DD399C-282B-0F1D-98F7-881847904884}"/>
                </a:ext>
              </a:extLst>
            </p:cNvPr>
            <p:cNvSpPr/>
            <p:nvPr/>
          </p:nvSpPr>
          <p:spPr>
            <a:xfrm>
              <a:off x="8005952" y="3501777"/>
              <a:ext cx="46007" cy="100866"/>
            </a:xfrm>
            <a:custGeom>
              <a:avLst/>
              <a:gdLst>
                <a:gd name="connsiteX0" fmla="*/ 23004 w 46007"/>
                <a:gd name="connsiteY0" fmla="*/ 23620 h 100866"/>
                <a:gd name="connsiteX1" fmla="*/ 33227 w 46007"/>
                <a:gd name="connsiteY1" fmla="*/ 33835 h 100866"/>
                <a:gd name="connsiteX2" fmla="*/ 39617 w 46007"/>
                <a:gd name="connsiteY2" fmla="*/ 40219 h 100866"/>
                <a:gd name="connsiteX3" fmla="*/ 46007 w 46007"/>
                <a:gd name="connsiteY3" fmla="*/ 33835 h 100866"/>
                <a:gd name="connsiteX4" fmla="*/ 29394 w 46007"/>
                <a:gd name="connsiteY4" fmla="*/ 12129 h 100866"/>
                <a:gd name="connsiteX5" fmla="*/ 29394 w 46007"/>
                <a:gd name="connsiteY5" fmla="*/ 6384 h 100866"/>
                <a:gd name="connsiteX6" fmla="*/ 23004 w 46007"/>
                <a:gd name="connsiteY6" fmla="*/ 0 h 100866"/>
                <a:gd name="connsiteX7" fmla="*/ 16614 w 46007"/>
                <a:gd name="connsiteY7" fmla="*/ 6384 h 100866"/>
                <a:gd name="connsiteX8" fmla="*/ 16614 w 46007"/>
                <a:gd name="connsiteY8" fmla="*/ 12129 h 100866"/>
                <a:gd name="connsiteX9" fmla="*/ 0 w 46007"/>
                <a:gd name="connsiteY9" fmla="*/ 33835 h 100866"/>
                <a:gd name="connsiteX10" fmla="*/ 23004 w 46007"/>
                <a:gd name="connsiteY10" fmla="*/ 56817 h 100866"/>
                <a:gd name="connsiteX11" fmla="*/ 33227 w 46007"/>
                <a:gd name="connsiteY11" fmla="*/ 67032 h 100866"/>
                <a:gd name="connsiteX12" fmla="*/ 23004 w 46007"/>
                <a:gd name="connsiteY12" fmla="*/ 77246 h 100866"/>
                <a:gd name="connsiteX13" fmla="*/ 12780 w 46007"/>
                <a:gd name="connsiteY13" fmla="*/ 67032 h 100866"/>
                <a:gd name="connsiteX14" fmla="*/ 6390 w 46007"/>
                <a:gd name="connsiteY14" fmla="*/ 60648 h 100866"/>
                <a:gd name="connsiteX15" fmla="*/ 0 w 46007"/>
                <a:gd name="connsiteY15" fmla="*/ 67032 h 100866"/>
                <a:gd name="connsiteX16" fmla="*/ 16614 w 46007"/>
                <a:gd name="connsiteY16" fmla="*/ 88737 h 100866"/>
                <a:gd name="connsiteX17" fmla="*/ 16614 w 46007"/>
                <a:gd name="connsiteY17" fmla="*/ 94483 h 100866"/>
                <a:gd name="connsiteX18" fmla="*/ 23004 w 46007"/>
                <a:gd name="connsiteY18" fmla="*/ 100867 h 100866"/>
                <a:gd name="connsiteX19" fmla="*/ 29394 w 46007"/>
                <a:gd name="connsiteY19" fmla="*/ 94483 h 100866"/>
                <a:gd name="connsiteX20" fmla="*/ 29394 w 46007"/>
                <a:gd name="connsiteY20" fmla="*/ 88737 h 100866"/>
                <a:gd name="connsiteX21" fmla="*/ 46007 w 46007"/>
                <a:gd name="connsiteY21" fmla="*/ 67032 h 100866"/>
                <a:gd name="connsiteX22" fmla="*/ 23004 w 46007"/>
                <a:gd name="connsiteY22" fmla="*/ 44049 h 100866"/>
                <a:gd name="connsiteX23" fmla="*/ 12780 w 46007"/>
                <a:gd name="connsiteY23" fmla="*/ 33835 h 100866"/>
                <a:gd name="connsiteX24" fmla="*/ 23004 w 46007"/>
                <a:gd name="connsiteY24" fmla="*/ 23620 h 10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007" h="100866">
                  <a:moveTo>
                    <a:pt x="23004" y="23620"/>
                  </a:moveTo>
                  <a:cubicBezTo>
                    <a:pt x="28755" y="23620"/>
                    <a:pt x="33227" y="28089"/>
                    <a:pt x="33227" y="33835"/>
                  </a:cubicBezTo>
                  <a:cubicBezTo>
                    <a:pt x="33227" y="37665"/>
                    <a:pt x="35783" y="40219"/>
                    <a:pt x="39617" y="40219"/>
                  </a:cubicBezTo>
                  <a:cubicBezTo>
                    <a:pt x="43451" y="40219"/>
                    <a:pt x="46007" y="37665"/>
                    <a:pt x="46007" y="33835"/>
                  </a:cubicBezTo>
                  <a:cubicBezTo>
                    <a:pt x="46007" y="23620"/>
                    <a:pt x="38978" y="14683"/>
                    <a:pt x="29394" y="12129"/>
                  </a:cubicBezTo>
                  <a:lnTo>
                    <a:pt x="29394" y="6384"/>
                  </a:lnTo>
                  <a:cubicBezTo>
                    <a:pt x="29394" y="2553"/>
                    <a:pt x="26837" y="0"/>
                    <a:pt x="23004" y="0"/>
                  </a:cubicBezTo>
                  <a:cubicBezTo>
                    <a:pt x="19170" y="0"/>
                    <a:pt x="16614" y="2553"/>
                    <a:pt x="16614" y="6384"/>
                  </a:cubicBezTo>
                  <a:lnTo>
                    <a:pt x="16614" y="12129"/>
                  </a:lnTo>
                  <a:cubicBezTo>
                    <a:pt x="7029" y="14683"/>
                    <a:pt x="0" y="23620"/>
                    <a:pt x="0" y="33835"/>
                  </a:cubicBezTo>
                  <a:cubicBezTo>
                    <a:pt x="0" y="46603"/>
                    <a:pt x="10224" y="56817"/>
                    <a:pt x="23004" y="56817"/>
                  </a:cubicBezTo>
                  <a:cubicBezTo>
                    <a:pt x="28755" y="56817"/>
                    <a:pt x="33227" y="61286"/>
                    <a:pt x="33227" y="67032"/>
                  </a:cubicBezTo>
                  <a:cubicBezTo>
                    <a:pt x="33227" y="72777"/>
                    <a:pt x="28755" y="77246"/>
                    <a:pt x="23004" y="77246"/>
                  </a:cubicBezTo>
                  <a:cubicBezTo>
                    <a:pt x="17253" y="77246"/>
                    <a:pt x="12780" y="72777"/>
                    <a:pt x="12780" y="67032"/>
                  </a:cubicBezTo>
                  <a:cubicBezTo>
                    <a:pt x="12780" y="63201"/>
                    <a:pt x="10224" y="60648"/>
                    <a:pt x="6390" y="60648"/>
                  </a:cubicBezTo>
                  <a:cubicBezTo>
                    <a:pt x="2556" y="60648"/>
                    <a:pt x="0" y="63201"/>
                    <a:pt x="0" y="67032"/>
                  </a:cubicBezTo>
                  <a:cubicBezTo>
                    <a:pt x="0" y="77246"/>
                    <a:pt x="7029" y="86184"/>
                    <a:pt x="16614" y="88737"/>
                  </a:cubicBezTo>
                  <a:lnTo>
                    <a:pt x="16614" y="94483"/>
                  </a:lnTo>
                  <a:cubicBezTo>
                    <a:pt x="16614" y="98313"/>
                    <a:pt x="19170" y="100867"/>
                    <a:pt x="23004" y="100867"/>
                  </a:cubicBezTo>
                  <a:cubicBezTo>
                    <a:pt x="26837" y="100867"/>
                    <a:pt x="29394" y="98313"/>
                    <a:pt x="29394" y="94483"/>
                  </a:cubicBezTo>
                  <a:lnTo>
                    <a:pt x="29394" y="88737"/>
                  </a:lnTo>
                  <a:cubicBezTo>
                    <a:pt x="38978" y="86184"/>
                    <a:pt x="46007" y="77246"/>
                    <a:pt x="46007" y="67032"/>
                  </a:cubicBezTo>
                  <a:cubicBezTo>
                    <a:pt x="46007" y="54264"/>
                    <a:pt x="35783" y="44049"/>
                    <a:pt x="23004" y="44049"/>
                  </a:cubicBezTo>
                  <a:cubicBezTo>
                    <a:pt x="17253" y="44049"/>
                    <a:pt x="12780" y="39580"/>
                    <a:pt x="12780" y="33835"/>
                  </a:cubicBezTo>
                  <a:cubicBezTo>
                    <a:pt x="13419" y="28089"/>
                    <a:pt x="17891" y="23620"/>
                    <a:pt x="23004" y="23620"/>
                  </a:cubicBezTo>
                  <a:close/>
                </a:path>
              </a:pathLst>
            </a:custGeom>
            <a:grpFill/>
            <a:ln w="6390" cap="flat">
              <a:noFill/>
              <a:prstDash val="solid"/>
              <a:miter/>
            </a:ln>
          </p:spPr>
          <p:txBody>
            <a:bodyPr rtlCol="0" anchor="ctr"/>
            <a:lstStyle/>
            <a:p>
              <a:endParaRPr lang="en-US" dirty="0"/>
            </a:p>
          </p:txBody>
        </p:sp>
        <p:sp>
          <p:nvSpPr>
            <p:cNvPr id="108" name="Graphic 4">
              <a:extLst>
                <a:ext uri="{FF2B5EF4-FFF2-40B4-BE49-F238E27FC236}">
                  <a16:creationId xmlns:a16="http://schemas.microsoft.com/office/drawing/2014/main" id="{8B25FB76-3663-0CBC-4BE4-4E732C1FF9E4}"/>
                </a:ext>
              </a:extLst>
            </p:cNvPr>
            <p:cNvSpPr/>
            <p:nvPr/>
          </p:nvSpPr>
          <p:spPr>
            <a:xfrm>
              <a:off x="7876875" y="3417508"/>
              <a:ext cx="144413" cy="177474"/>
            </a:xfrm>
            <a:custGeom>
              <a:avLst/>
              <a:gdLst>
                <a:gd name="connsiteX0" fmla="*/ 72207 w 144413"/>
                <a:gd name="connsiteY0" fmla="*/ 95121 h 177474"/>
                <a:gd name="connsiteX1" fmla="*/ 78597 w 144413"/>
                <a:gd name="connsiteY1" fmla="*/ 88737 h 177474"/>
                <a:gd name="connsiteX2" fmla="*/ 72207 w 144413"/>
                <a:gd name="connsiteY2" fmla="*/ 82353 h 177474"/>
                <a:gd name="connsiteX3" fmla="*/ 12780 w 144413"/>
                <a:gd name="connsiteY3" fmla="*/ 61286 h 177474"/>
                <a:gd name="connsiteX4" fmla="*/ 12780 w 144413"/>
                <a:gd name="connsiteY4" fmla="*/ 53625 h 177474"/>
                <a:gd name="connsiteX5" fmla="*/ 72207 w 144413"/>
                <a:gd name="connsiteY5" fmla="*/ 67670 h 177474"/>
                <a:gd name="connsiteX6" fmla="*/ 144413 w 144413"/>
                <a:gd name="connsiteY6" fmla="*/ 33835 h 177474"/>
                <a:gd name="connsiteX7" fmla="*/ 72207 w 144413"/>
                <a:gd name="connsiteY7" fmla="*/ 0 h 177474"/>
                <a:gd name="connsiteX8" fmla="*/ 0 w 144413"/>
                <a:gd name="connsiteY8" fmla="*/ 33835 h 177474"/>
                <a:gd name="connsiteX9" fmla="*/ 0 w 144413"/>
                <a:gd name="connsiteY9" fmla="*/ 143640 h 177474"/>
                <a:gd name="connsiteX10" fmla="*/ 72207 w 144413"/>
                <a:gd name="connsiteY10" fmla="*/ 177475 h 177474"/>
                <a:gd name="connsiteX11" fmla="*/ 78597 w 144413"/>
                <a:gd name="connsiteY11" fmla="*/ 171091 h 177474"/>
                <a:gd name="connsiteX12" fmla="*/ 72207 w 144413"/>
                <a:gd name="connsiteY12" fmla="*/ 164707 h 177474"/>
                <a:gd name="connsiteX13" fmla="*/ 12780 w 144413"/>
                <a:gd name="connsiteY13" fmla="*/ 143640 h 177474"/>
                <a:gd name="connsiteX14" fmla="*/ 12780 w 144413"/>
                <a:gd name="connsiteY14" fmla="*/ 135979 h 177474"/>
                <a:gd name="connsiteX15" fmla="*/ 66456 w 144413"/>
                <a:gd name="connsiteY15" fmla="*/ 150024 h 177474"/>
                <a:gd name="connsiteX16" fmla="*/ 66456 w 144413"/>
                <a:gd name="connsiteY16" fmla="*/ 150024 h 177474"/>
                <a:gd name="connsiteX17" fmla="*/ 72845 w 144413"/>
                <a:gd name="connsiteY17" fmla="*/ 143640 h 177474"/>
                <a:gd name="connsiteX18" fmla="*/ 66456 w 144413"/>
                <a:gd name="connsiteY18" fmla="*/ 137256 h 177474"/>
                <a:gd name="connsiteX19" fmla="*/ 12141 w 144413"/>
                <a:gd name="connsiteY19" fmla="*/ 116189 h 177474"/>
                <a:gd name="connsiteX20" fmla="*/ 12141 w 144413"/>
                <a:gd name="connsiteY20" fmla="*/ 108528 h 177474"/>
                <a:gd name="connsiteX21" fmla="*/ 65817 w 144413"/>
                <a:gd name="connsiteY21" fmla="*/ 122573 h 177474"/>
                <a:gd name="connsiteX22" fmla="*/ 65817 w 144413"/>
                <a:gd name="connsiteY22" fmla="*/ 122573 h 177474"/>
                <a:gd name="connsiteX23" fmla="*/ 72207 w 144413"/>
                <a:gd name="connsiteY23" fmla="*/ 116189 h 177474"/>
                <a:gd name="connsiteX24" fmla="*/ 65817 w 144413"/>
                <a:gd name="connsiteY24" fmla="*/ 109805 h 177474"/>
                <a:gd name="connsiteX25" fmla="*/ 11502 w 144413"/>
                <a:gd name="connsiteY25" fmla="*/ 88737 h 177474"/>
                <a:gd name="connsiteX26" fmla="*/ 11502 w 144413"/>
                <a:gd name="connsiteY26" fmla="*/ 81077 h 177474"/>
                <a:gd name="connsiteX27" fmla="*/ 72207 w 144413"/>
                <a:gd name="connsiteY27" fmla="*/ 95121 h 177474"/>
                <a:gd name="connsiteX28" fmla="*/ 72207 w 144413"/>
                <a:gd name="connsiteY28" fmla="*/ 12768 h 177474"/>
                <a:gd name="connsiteX29" fmla="*/ 131633 w 144413"/>
                <a:gd name="connsiteY29" fmla="*/ 33835 h 177474"/>
                <a:gd name="connsiteX30" fmla="*/ 72207 w 144413"/>
                <a:gd name="connsiteY30" fmla="*/ 54902 h 177474"/>
                <a:gd name="connsiteX31" fmla="*/ 12780 w 144413"/>
                <a:gd name="connsiteY31" fmla="*/ 33835 h 177474"/>
                <a:gd name="connsiteX32" fmla="*/ 72207 w 144413"/>
                <a:gd name="connsiteY32" fmla="*/ 12768 h 17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4413" h="177474">
                  <a:moveTo>
                    <a:pt x="72207" y="95121"/>
                  </a:moveTo>
                  <a:cubicBezTo>
                    <a:pt x="76040" y="95121"/>
                    <a:pt x="78597" y="92568"/>
                    <a:pt x="78597" y="88737"/>
                  </a:cubicBezTo>
                  <a:cubicBezTo>
                    <a:pt x="78597" y="84907"/>
                    <a:pt x="76040" y="82353"/>
                    <a:pt x="72207" y="82353"/>
                  </a:cubicBezTo>
                  <a:cubicBezTo>
                    <a:pt x="35145" y="82353"/>
                    <a:pt x="12780" y="70224"/>
                    <a:pt x="12780" y="61286"/>
                  </a:cubicBezTo>
                  <a:lnTo>
                    <a:pt x="12780" y="53625"/>
                  </a:lnTo>
                  <a:cubicBezTo>
                    <a:pt x="26838" y="62563"/>
                    <a:pt x="49842" y="67670"/>
                    <a:pt x="72207" y="67670"/>
                  </a:cubicBezTo>
                  <a:cubicBezTo>
                    <a:pt x="107351" y="67670"/>
                    <a:pt x="144413" y="55541"/>
                    <a:pt x="144413" y="33835"/>
                  </a:cubicBezTo>
                  <a:cubicBezTo>
                    <a:pt x="144413" y="12129"/>
                    <a:pt x="107351" y="0"/>
                    <a:pt x="72207" y="0"/>
                  </a:cubicBezTo>
                  <a:cubicBezTo>
                    <a:pt x="37062" y="0"/>
                    <a:pt x="0" y="12129"/>
                    <a:pt x="0" y="33835"/>
                  </a:cubicBezTo>
                  <a:lnTo>
                    <a:pt x="0" y="143640"/>
                  </a:lnTo>
                  <a:cubicBezTo>
                    <a:pt x="0" y="165345"/>
                    <a:pt x="37062" y="177475"/>
                    <a:pt x="72207" y="177475"/>
                  </a:cubicBezTo>
                  <a:cubicBezTo>
                    <a:pt x="76040" y="177475"/>
                    <a:pt x="78597" y="174921"/>
                    <a:pt x="78597" y="171091"/>
                  </a:cubicBezTo>
                  <a:cubicBezTo>
                    <a:pt x="78597" y="167260"/>
                    <a:pt x="76040" y="164707"/>
                    <a:pt x="72207" y="164707"/>
                  </a:cubicBezTo>
                  <a:cubicBezTo>
                    <a:pt x="35784" y="164707"/>
                    <a:pt x="12780" y="152577"/>
                    <a:pt x="12780" y="143640"/>
                  </a:cubicBezTo>
                  <a:lnTo>
                    <a:pt x="12780" y="135979"/>
                  </a:lnTo>
                  <a:cubicBezTo>
                    <a:pt x="24282" y="144278"/>
                    <a:pt x="43452" y="149385"/>
                    <a:pt x="66456" y="150024"/>
                  </a:cubicBezTo>
                  <a:cubicBezTo>
                    <a:pt x="66456" y="150024"/>
                    <a:pt x="66456" y="150024"/>
                    <a:pt x="66456" y="150024"/>
                  </a:cubicBezTo>
                  <a:cubicBezTo>
                    <a:pt x="69650" y="150024"/>
                    <a:pt x="72845" y="147470"/>
                    <a:pt x="72845" y="143640"/>
                  </a:cubicBezTo>
                  <a:cubicBezTo>
                    <a:pt x="72845" y="139809"/>
                    <a:pt x="70289" y="137256"/>
                    <a:pt x="66456" y="137256"/>
                  </a:cubicBezTo>
                  <a:cubicBezTo>
                    <a:pt x="31311" y="135979"/>
                    <a:pt x="12141" y="124488"/>
                    <a:pt x="12141" y="116189"/>
                  </a:cubicBezTo>
                  <a:lnTo>
                    <a:pt x="12141" y="108528"/>
                  </a:lnTo>
                  <a:cubicBezTo>
                    <a:pt x="23643" y="116827"/>
                    <a:pt x="42813" y="121934"/>
                    <a:pt x="65817" y="122573"/>
                  </a:cubicBezTo>
                  <a:cubicBezTo>
                    <a:pt x="65817" y="122573"/>
                    <a:pt x="65817" y="122573"/>
                    <a:pt x="65817" y="122573"/>
                  </a:cubicBezTo>
                  <a:cubicBezTo>
                    <a:pt x="69012" y="122573"/>
                    <a:pt x="72207" y="120019"/>
                    <a:pt x="72207" y="116189"/>
                  </a:cubicBezTo>
                  <a:cubicBezTo>
                    <a:pt x="72207" y="112358"/>
                    <a:pt x="69650" y="109805"/>
                    <a:pt x="65817" y="109805"/>
                  </a:cubicBezTo>
                  <a:cubicBezTo>
                    <a:pt x="30672" y="108528"/>
                    <a:pt x="11502" y="97037"/>
                    <a:pt x="11502" y="88737"/>
                  </a:cubicBezTo>
                  <a:lnTo>
                    <a:pt x="11502" y="81077"/>
                  </a:lnTo>
                  <a:cubicBezTo>
                    <a:pt x="26838" y="90653"/>
                    <a:pt x="49842" y="95121"/>
                    <a:pt x="72207" y="95121"/>
                  </a:cubicBezTo>
                  <a:close/>
                  <a:moveTo>
                    <a:pt x="72207" y="12768"/>
                  </a:moveTo>
                  <a:cubicBezTo>
                    <a:pt x="108629" y="12768"/>
                    <a:pt x="131633" y="25536"/>
                    <a:pt x="131633" y="33835"/>
                  </a:cubicBezTo>
                  <a:cubicBezTo>
                    <a:pt x="131633" y="42773"/>
                    <a:pt x="109269" y="54902"/>
                    <a:pt x="72207" y="54902"/>
                  </a:cubicBezTo>
                  <a:cubicBezTo>
                    <a:pt x="35145" y="54902"/>
                    <a:pt x="12780" y="42773"/>
                    <a:pt x="12780" y="33835"/>
                  </a:cubicBezTo>
                  <a:cubicBezTo>
                    <a:pt x="12780" y="25536"/>
                    <a:pt x="35784" y="12768"/>
                    <a:pt x="72207" y="12768"/>
                  </a:cubicBezTo>
                  <a:close/>
                </a:path>
              </a:pathLst>
            </a:custGeom>
            <a:grpFill/>
            <a:ln w="6390" cap="flat">
              <a:noFill/>
              <a:prstDash val="solid"/>
              <a:miter/>
            </a:ln>
          </p:spPr>
          <p:txBody>
            <a:bodyPr rtlCol="0" anchor="ctr"/>
            <a:lstStyle/>
            <a:p>
              <a:endParaRPr lang="en-US" dirty="0"/>
            </a:p>
          </p:txBody>
        </p:sp>
      </p:grpSp>
      <p:grpSp>
        <p:nvGrpSpPr>
          <p:cNvPr id="113" name="Graphic 4">
            <a:extLst>
              <a:ext uri="{FF2B5EF4-FFF2-40B4-BE49-F238E27FC236}">
                <a16:creationId xmlns:a16="http://schemas.microsoft.com/office/drawing/2014/main" id="{5A372176-9A4E-B9FC-6088-F995B10CB0D1}"/>
              </a:ext>
            </a:extLst>
          </p:cNvPr>
          <p:cNvGrpSpPr/>
          <p:nvPr/>
        </p:nvGrpSpPr>
        <p:grpSpPr>
          <a:xfrm>
            <a:off x="8244992" y="1855276"/>
            <a:ext cx="531056" cy="468535"/>
            <a:chOff x="1593650" y="1977920"/>
            <a:chExt cx="204477" cy="177474"/>
          </a:xfrm>
          <a:solidFill>
            <a:srgbClr val="86BC25"/>
          </a:solidFill>
        </p:grpSpPr>
        <p:sp>
          <p:nvSpPr>
            <p:cNvPr id="115" name="Graphic 4">
              <a:extLst>
                <a:ext uri="{FF2B5EF4-FFF2-40B4-BE49-F238E27FC236}">
                  <a16:creationId xmlns:a16="http://schemas.microsoft.com/office/drawing/2014/main" id="{F62FC104-8032-09E1-A8AF-2A46D1AB867F}"/>
                </a:ext>
              </a:extLst>
            </p:cNvPr>
            <p:cNvSpPr/>
            <p:nvPr/>
          </p:nvSpPr>
          <p:spPr>
            <a:xfrm>
              <a:off x="1593650" y="1977920"/>
              <a:ext cx="122047" cy="108527"/>
            </a:xfrm>
            <a:custGeom>
              <a:avLst/>
              <a:gdLst>
                <a:gd name="connsiteX0" fmla="*/ 122048 w 122047"/>
                <a:gd name="connsiteY0" fmla="*/ 74692 h 108527"/>
                <a:gd name="connsiteX1" fmla="*/ 122048 w 122047"/>
                <a:gd name="connsiteY1" fmla="*/ 6384 h 108527"/>
                <a:gd name="connsiteX2" fmla="*/ 115658 w 122047"/>
                <a:gd name="connsiteY2" fmla="*/ 0 h 108527"/>
                <a:gd name="connsiteX3" fmla="*/ 6390 w 122047"/>
                <a:gd name="connsiteY3" fmla="*/ 0 h 108527"/>
                <a:gd name="connsiteX4" fmla="*/ 0 w 122047"/>
                <a:gd name="connsiteY4" fmla="*/ 6384 h 108527"/>
                <a:gd name="connsiteX5" fmla="*/ 0 w 122047"/>
                <a:gd name="connsiteY5" fmla="*/ 74692 h 108527"/>
                <a:gd name="connsiteX6" fmla="*/ 6390 w 122047"/>
                <a:gd name="connsiteY6" fmla="*/ 81076 h 108527"/>
                <a:gd name="connsiteX7" fmla="*/ 20448 w 122047"/>
                <a:gd name="connsiteY7" fmla="*/ 81076 h 108527"/>
                <a:gd name="connsiteX8" fmla="*/ 20448 w 122047"/>
                <a:gd name="connsiteY8" fmla="*/ 102144 h 108527"/>
                <a:gd name="connsiteX9" fmla="*/ 24282 w 122047"/>
                <a:gd name="connsiteY9" fmla="*/ 107889 h 108527"/>
                <a:gd name="connsiteX10" fmla="*/ 26838 w 122047"/>
                <a:gd name="connsiteY10" fmla="*/ 108528 h 108527"/>
                <a:gd name="connsiteX11" fmla="*/ 31311 w 122047"/>
                <a:gd name="connsiteY11" fmla="*/ 106612 h 108527"/>
                <a:gd name="connsiteX12" fmla="*/ 56870 w 122047"/>
                <a:gd name="connsiteY12" fmla="*/ 81076 h 108527"/>
                <a:gd name="connsiteX13" fmla="*/ 115658 w 122047"/>
                <a:gd name="connsiteY13" fmla="*/ 81076 h 108527"/>
                <a:gd name="connsiteX14" fmla="*/ 122048 w 122047"/>
                <a:gd name="connsiteY14" fmla="*/ 74692 h 108527"/>
                <a:gd name="connsiteX15" fmla="*/ 109268 w 122047"/>
                <a:gd name="connsiteY15" fmla="*/ 68308 h 108527"/>
                <a:gd name="connsiteX16" fmla="*/ 54314 w 122047"/>
                <a:gd name="connsiteY16" fmla="*/ 68308 h 108527"/>
                <a:gd name="connsiteX17" fmla="*/ 49842 w 122047"/>
                <a:gd name="connsiteY17" fmla="*/ 70224 h 108527"/>
                <a:gd name="connsiteX18" fmla="*/ 33228 w 122047"/>
                <a:gd name="connsiteY18" fmla="*/ 86822 h 108527"/>
                <a:gd name="connsiteX19" fmla="*/ 33228 w 122047"/>
                <a:gd name="connsiteY19" fmla="*/ 74692 h 108527"/>
                <a:gd name="connsiteX20" fmla="*/ 26838 w 122047"/>
                <a:gd name="connsiteY20" fmla="*/ 68308 h 108527"/>
                <a:gd name="connsiteX21" fmla="*/ 12780 w 122047"/>
                <a:gd name="connsiteY21" fmla="*/ 68308 h 108527"/>
                <a:gd name="connsiteX22" fmla="*/ 12780 w 122047"/>
                <a:gd name="connsiteY22" fmla="*/ 12768 h 108527"/>
                <a:gd name="connsiteX23" fmla="*/ 109268 w 122047"/>
                <a:gd name="connsiteY23" fmla="*/ 12768 h 108527"/>
                <a:gd name="connsiteX24" fmla="*/ 109268 w 122047"/>
                <a:gd name="connsiteY24" fmla="*/ 68308 h 10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047" h="108527">
                  <a:moveTo>
                    <a:pt x="122048" y="74692"/>
                  </a:moveTo>
                  <a:lnTo>
                    <a:pt x="122048" y="6384"/>
                  </a:lnTo>
                  <a:cubicBezTo>
                    <a:pt x="122048" y="2554"/>
                    <a:pt x="119492" y="0"/>
                    <a:pt x="115658" y="0"/>
                  </a:cubicBezTo>
                  <a:lnTo>
                    <a:pt x="6390" y="0"/>
                  </a:lnTo>
                  <a:cubicBezTo>
                    <a:pt x="2556" y="0"/>
                    <a:pt x="0" y="2554"/>
                    <a:pt x="0" y="6384"/>
                  </a:cubicBezTo>
                  <a:lnTo>
                    <a:pt x="0" y="74692"/>
                  </a:lnTo>
                  <a:cubicBezTo>
                    <a:pt x="0" y="78523"/>
                    <a:pt x="2556" y="81076"/>
                    <a:pt x="6390" y="81076"/>
                  </a:cubicBezTo>
                  <a:lnTo>
                    <a:pt x="20448" y="81076"/>
                  </a:lnTo>
                  <a:lnTo>
                    <a:pt x="20448" y="102144"/>
                  </a:lnTo>
                  <a:cubicBezTo>
                    <a:pt x="20448" y="104697"/>
                    <a:pt x="21726" y="107251"/>
                    <a:pt x="24282" y="107889"/>
                  </a:cubicBezTo>
                  <a:cubicBezTo>
                    <a:pt x="24921" y="108528"/>
                    <a:pt x="26199" y="108528"/>
                    <a:pt x="26838" y="108528"/>
                  </a:cubicBezTo>
                  <a:cubicBezTo>
                    <a:pt x="28755" y="108528"/>
                    <a:pt x="30033" y="107889"/>
                    <a:pt x="31311" y="106612"/>
                  </a:cubicBezTo>
                  <a:lnTo>
                    <a:pt x="56870" y="81076"/>
                  </a:lnTo>
                  <a:lnTo>
                    <a:pt x="115658" y="81076"/>
                  </a:lnTo>
                  <a:cubicBezTo>
                    <a:pt x="119492" y="81076"/>
                    <a:pt x="122048" y="78523"/>
                    <a:pt x="122048" y="74692"/>
                  </a:cubicBezTo>
                  <a:close/>
                  <a:moveTo>
                    <a:pt x="109268" y="68308"/>
                  </a:moveTo>
                  <a:lnTo>
                    <a:pt x="54314" y="68308"/>
                  </a:lnTo>
                  <a:cubicBezTo>
                    <a:pt x="52398" y="68308"/>
                    <a:pt x="51119" y="68947"/>
                    <a:pt x="49842" y="70224"/>
                  </a:cubicBezTo>
                  <a:lnTo>
                    <a:pt x="33228" y="86822"/>
                  </a:lnTo>
                  <a:lnTo>
                    <a:pt x="33228" y="74692"/>
                  </a:lnTo>
                  <a:cubicBezTo>
                    <a:pt x="33228" y="70862"/>
                    <a:pt x="30672" y="68308"/>
                    <a:pt x="26838" y="68308"/>
                  </a:cubicBezTo>
                  <a:lnTo>
                    <a:pt x="12780" y="68308"/>
                  </a:lnTo>
                  <a:lnTo>
                    <a:pt x="12780" y="12768"/>
                  </a:lnTo>
                  <a:lnTo>
                    <a:pt x="109268" y="12768"/>
                  </a:lnTo>
                  <a:lnTo>
                    <a:pt x="109268" y="68308"/>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16" name="Graphic 4">
              <a:extLst>
                <a:ext uri="{FF2B5EF4-FFF2-40B4-BE49-F238E27FC236}">
                  <a16:creationId xmlns:a16="http://schemas.microsoft.com/office/drawing/2014/main" id="{2EDAF015-593B-604B-BD6F-F63B2F934A26}"/>
                </a:ext>
              </a:extLst>
            </p:cNvPr>
            <p:cNvSpPr/>
            <p:nvPr/>
          </p:nvSpPr>
          <p:spPr>
            <a:xfrm>
              <a:off x="1675441" y="2032822"/>
              <a:ext cx="122686" cy="122572"/>
            </a:xfrm>
            <a:custGeom>
              <a:avLst/>
              <a:gdLst>
                <a:gd name="connsiteX0" fmla="*/ 116297 w 122686"/>
                <a:gd name="connsiteY0" fmla="*/ 0 h 122572"/>
                <a:gd name="connsiteX1" fmla="*/ 61343 w 122686"/>
                <a:gd name="connsiteY1" fmla="*/ 0 h 122572"/>
                <a:gd name="connsiteX2" fmla="*/ 54953 w 122686"/>
                <a:gd name="connsiteY2" fmla="*/ 6384 h 122572"/>
                <a:gd name="connsiteX3" fmla="*/ 61343 w 122686"/>
                <a:gd name="connsiteY3" fmla="*/ 12768 h 122572"/>
                <a:gd name="connsiteX4" fmla="*/ 109907 w 122686"/>
                <a:gd name="connsiteY4" fmla="*/ 12768 h 122572"/>
                <a:gd name="connsiteX5" fmla="*/ 109907 w 122686"/>
                <a:gd name="connsiteY5" fmla="*/ 82354 h 122572"/>
                <a:gd name="connsiteX6" fmla="*/ 88820 w 122686"/>
                <a:gd name="connsiteY6" fmla="*/ 82354 h 122572"/>
                <a:gd name="connsiteX7" fmla="*/ 82430 w 122686"/>
                <a:gd name="connsiteY7" fmla="*/ 88738 h 122572"/>
                <a:gd name="connsiteX8" fmla="*/ 82430 w 122686"/>
                <a:gd name="connsiteY8" fmla="*/ 100867 h 122572"/>
                <a:gd name="connsiteX9" fmla="*/ 65816 w 122686"/>
                <a:gd name="connsiteY9" fmla="*/ 84269 h 122572"/>
                <a:gd name="connsiteX10" fmla="*/ 61343 w 122686"/>
                <a:gd name="connsiteY10" fmla="*/ 82354 h 122572"/>
                <a:gd name="connsiteX11" fmla="*/ 12780 w 122686"/>
                <a:gd name="connsiteY11" fmla="*/ 82354 h 122572"/>
                <a:gd name="connsiteX12" fmla="*/ 12780 w 122686"/>
                <a:gd name="connsiteY12" fmla="*/ 47880 h 122572"/>
                <a:gd name="connsiteX13" fmla="*/ 6390 w 122686"/>
                <a:gd name="connsiteY13" fmla="*/ 41496 h 122572"/>
                <a:gd name="connsiteX14" fmla="*/ 0 w 122686"/>
                <a:gd name="connsiteY14" fmla="*/ 47880 h 122572"/>
                <a:gd name="connsiteX15" fmla="*/ 0 w 122686"/>
                <a:gd name="connsiteY15" fmla="*/ 88738 h 122572"/>
                <a:gd name="connsiteX16" fmla="*/ 6390 w 122686"/>
                <a:gd name="connsiteY16" fmla="*/ 95121 h 122572"/>
                <a:gd name="connsiteX17" fmla="*/ 58787 w 122686"/>
                <a:gd name="connsiteY17" fmla="*/ 95121 h 122572"/>
                <a:gd name="connsiteX18" fmla="*/ 84347 w 122686"/>
                <a:gd name="connsiteY18" fmla="*/ 120657 h 122572"/>
                <a:gd name="connsiteX19" fmla="*/ 88820 w 122686"/>
                <a:gd name="connsiteY19" fmla="*/ 122573 h 122572"/>
                <a:gd name="connsiteX20" fmla="*/ 91376 w 122686"/>
                <a:gd name="connsiteY20" fmla="*/ 121934 h 122572"/>
                <a:gd name="connsiteX21" fmla="*/ 95210 w 122686"/>
                <a:gd name="connsiteY21" fmla="*/ 116189 h 122572"/>
                <a:gd name="connsiteX22" fmla="*/ 95210 w 122686"/>
                <a:gd name="connsiteY22" fmla="*/ 95121 h 122572"/>
                <a:gd name="connsiteX23" fmla="*/ 116297 w 122686"/>
                <a:gd name="connsiteY23" fmla="*/ 95121 h 122572"/>
                <a:gd name="connsiteX24" fmla="*/ 122687 w 122686"/>
                <a:gd name="connsiteY24" fmla="*/ 88738 h 122572"/>
                <a:gd name="connsiteX25" fmla="*/ 122687 w 122686"/>
                <a:gd name="connsiteY25" fmla="*/ 6384 h 122572"/>
                <a:gd name="connsiteX26" fmla="*/ 116297 w 122686"/>
                <a:gd name="connsiteY26" fmla="*/ 0 h 12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686" h="122572">
                  <a:moveTo>
                    <a:pt x="116297" y="0"/>
                  </a:moveTo>
                  <a:lnTo>
                    <a:pt x="61343" y="0"/>
                  </a:lnTo>
                  <a:cubicBezTo>
                    <a:pt x="57509" y="0"/>
                    <a:pt x="54953" y="2554"/>
                    <a:pt x="54953" y="6384"/>
                  </a:cubicBezTo>
                  <a:cubicBezTo>
                    <a:pt x="54953" y="10214"/>
                    <a:pt x="57509" y="12768"/>
                    <a:pt x="61343" y="12768"/>
                  </a:cubicBezTo>
                  <a:lnTo>
                    <a:pt x="109907" y="12768"/>
                  </a:lnTo>
                  <a:lnTo>
                    <a:pt x="109907" y="82354"/>
                  </a:lnTo>
                  <a:lnTo>
                    <a:pt x="88820" y="82354"/>
                  </a:lnTo>
                  <a:cubicBezTo>
                    <a:pt x="84986" y="82354"/>
                    <a:pt x="82430" y="84907"/>
                    <a:pt x="82430" y="88738"/>
                  </a:cubicBezTo>
                  <a:lnTo>
                    <a:pt x="82430" y="100867"/>
                  </a:lnTo>
                  <a:lnTo>
                    <a:pt x="65816" y="84269"/>
                  </a:lnTo>
                  <a:cubicBezTo>
                    <a:pt x="64538" y="82992"/>
                    <a:pt x="63260" y="82354"/>
                    <a:pt x="61343" y="82354"/>
                  </a:cubicBezTo>
                  <a:lnTo>
                    <a:pt x="12780" y="82354"/>
                  </a:lnTo>
                  <a:lnTo>
                    <a:pt x="12780" y="47880"/>
                  </a:lnTo>
                  <a:cubicBezTo>
                    <a:pt x="12780" y="44050"/>
                    <a:pt x="10224" y="41496"/>
                    <a:pt x="6390" y="41496"/>
                  </a:cubicBezTo>
                  <a:cubicBezTo>
                    <a:pt x="2556" y="41496"/>
                    <a:pt x="0" y="44050"/>
                    <a:pt x="0" y="47880"/>
                  </a:cubicBezTo>
                  <a:lnTo>
                    <a:pt x="0" y="88738"/>
                  </a:lnTo>
                  <a:cubicBezTo>
                    <a:pt x="0" y="92568"/>
                    <a:pt x="2556" y="95121"/>
                    <a:pt x="6390" y="95121"/>
                  </a:cubicBezTo>
                  <a:lnTo>
                    <a:pt x="58787" y="95121"/>
                  </a:lnTo>
                  <a:lnTo>
                    <a:pt x="84347" y="120657"/>
                  </a:lnTo>
                  <a:cubicBezTo>
                    <a:pt x="85625" y="121934"/>
                    <a:pt x="86903" y="122573"/>
                    <a:pt x="88820" y="122573"/>
                  </a:cubicBezTo>
                  <a:cubicBezTo>
                    <a:pt x="89459" y="122573"/>
                    <a:pt x="90737" y="122573"/>
                    <a:pt x="91376" y="121934"/>
                  </a:cubicBezTo>
                  <a:cubicBezTo>
                    <a:pt x="93932" y="120657"/>
                    <a:pt x="95210" y="118742"/>
                    <a:pt x="95210" y="116189"/>
                  </a:cubicBezTo>
                  <a:lnTo>
                    <a:pt x="95210" y="95121"/>
                  </a:lnTo>
                  <a:lnTo>
                    <a:pt x="116297" y="95121"/>
                  </a:lnTo>
                  <a:cubicBezTo>
                    <a:pt x="120131" y="95121"/>
                    <a:pt x="122687" y="92568"/>
                    <a:pt x="122687" y="88738"/>
                  </a:cubicBezTo>
                  <a:lnTo>
                    <a:pt x="122687" y="6384"/>
                  </a:lnTo>
                  <a:cubicBezTo>
                    <a:pt x="122687" y="3192"/>
                    <a:pt x="119492" y="0"/>
                    <a:pt x="116297" y="0"/>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117" name="Graphic 4">
            <a:extLst>
              <a:ext uri="{FF2B5EF4-FFF2-40B4-BE49-F238E27FC236}">
                <a16:creationId xmlns:a16="http://schemas.microsoft.com/office/drawing/2014/main" id="{B09470B0-AD98-0A10-7463-1035DD21C226}"/>
              </a:ext>
            </a:extLst>
          </p:cNvPr>
          <p:cNvGrpSpPr/>
          <p:nvPr/>
        </p:nvGrpSpPr>
        <p:grpSpPr>
          <a:xfrm>
            <a:off x="10511626" y="1728993"/>
            <a:ext cx="661106" cy="665362"/>
            <a:chOff x="2621824" y="1460162"/>
            <a:chExt cx="239681" cy="248992"/>
          </a:xfrm>
          <a:solidFill>
            <a:srgbClr val="43B02A"/>
          </a:solidFill>
        </p:grpSpPr>
        <p:sp>
          <p:nvSpPr>
            <p:cNvPr id="119" name="Graphic 4">
              <a:extLst>
                <a:ext uri="{FF2B5EF4-FFF2-40B4-BE49-F238E27FC236}">
                  <a16:creationId xmlns:a16="http://schemas.microsoft.com/office/drawing/2014/main" id="{5DAE4792-757C-577A-68C1-6410911BD868}"/>
                </a:ext>
              </a:extLst>
            </p:cNvPr>
            <p:cNvSpPr/>
            <p:nvPr/>
          </p:nvSpPr>
          <p:spPr>
            <a:xfrm>
              <a:off x="2699748" y="1460162"/>
              <a:ext cx="84986" cy="117481"/>
            </a:xfrm>
            <a:custGeom>
              <a:avLst/>
              <a:gdLst>
                <a:gd name="connsiteX0" fmla="*/ 42813 w 84986"/>
                <a:gd name="connsiteY0" fmla="*/ 117482 h 117481"/>
                <a:gd name="connsiteX1" fmla="*/ 47925 w 84986"/>
                <a:gd name="connsiteY1" fmla="*/ 114928 h 117481"/>
                <a:gd name="connsiteX2" fmla="*/ 84986 w 84986"/>
                <a:gd name="connsiteY2" fmla="*/ 40874 h 117481"/>
                <a:gd name="connsiteX3" fmla="*/ 40896 w 84986"/>
                <a:gd name="connsiteY3" fmla="*/ 17 h 117481"/>
                <a:gd name="connsiteX4" fmla="*/ 0 w 84986"/>
                <a:gd name="connsiteY4" fmla="*/ 40874 h 117481"/>
                <a:gd name="connsiteX5" fmla="*/ 37062 w 84986"/>
                <a:gd name="connsiteY5" fmla="*/ 114928 h 117481"/>
                <a:gd name="connsiteX6" fmla="*/ 42813 w 84986"/>
                <a:gd name="connsiteY6" fmla="*/ 117482 h 117481"/>
                <a:gd name="connsiteX7" fmla="*/ 42813 w 84986"/>
                <a:gd name="connsiteY7" fmla="*/ 10869 h 117481"/>
                <a:gd name="connsiteX8" fmla="*/ 72206 w 84986"/>
                <a:gd name="connsiteY8" fmla="*/ 40236 h 117481"/>
                <a:gd name="connsiteX9" fmla="*/ 42813 w 84986"/>
                <a:gd name="connsiteY9" fmla="*/ 99607 h 117481"/>
                <a:gd name="connsiteX10" fmla="*/ 13419 w 84986"/>
                <a:gd name="connsiteY10" fmla="*/ 40236 h 117481"/>
                <a:gd name="connsiteX11" fmla="*/ 42813 w 84986"/>
                <a:gd name="connsiteY11" fmla="*/ 10869 h 117481"/>
                <a:gd name="connsiteX12" fmla="*/ 42813 w 84986"/>
                <a:gd name="connsiteY12" fmla="*/ 10869 h 117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986" h="117481">
                  <a:moveTo>
                    <a:pt x="42813" y="117482"/>
                  </a:moveTo>
                  <a:cubicBezTo>
                    <a:pt x="44730" y="117482"/>
                    <a:pt x="46646" y="116205"/>
                    <a:pt x="47925" y="114928"/>
                  </a:cubicBezTo>
                  <a:cubicBezTo>
                    <a:pt x="51759" y="109821"/>
                    <a:pt x="84986" y="61941"/>
                    <a:pt x="84986" y="40874"/>
                  </a:cubicBezTo>
                  <a:cubicBezTo>
                    <a:pt x="84347" y="17253"/>
                    <a:pt x="64538" y="-622"/>
                    <a:pt x="40896" y="17"/>
                  </a:cubicBezTo>
                  <a:cubicBezTo>
                    <a:pt x="18531" y="655"/>
                    <a:pt x="1278" y="18530"/>
                    <a:pt x="0" y="40874"/>
                  </a:cubicBezTo>
                  <a:cubicBezTo>
                    <a:pt x="0" y="61941"/>
                    <a:pt x="33228" y="109821"/>
                    <a:pt x="37062" y="114928"/>
                  </a:cubicBezTo>
                  <a:cubicBezTo>
                    <a:pt x="38340" y="116843"/>
                    <a:pt x="40257" y="117482"/>
                    <a:pt x="42813" y="117482"/>
                  </a:cubicBezTo>
                  <a:close/>
                  <a:moveTo>
                    <a:pt x="42813" y="10869"/>
                  </a:moveTo>
                  <a:cubicBezTo>
                    <a:pt x="59426" y="10869"/>
                    <a:pt x="72206" y="24276"/>
                    <a:pt x="72206" y="40236"/>
                  </a:cubicBezTo>
                  <a:cubicBezTo>
                    <a:pt x="72206" y="51727"/>
                    <a:pt x="55593" y="79816"/>
                    <a:pt x="42813" y="99607"/>
                  </a:cubicBezTo>
                  <a:cubicBezTo>
                    <a:pt x="30033" y="79816"/>
                    <a:pt x="13419" y="51727"/>
                    <a:pt x="13419" y="40236"/>
                  </a:cubicBezTo>
                  <a:cubicBezTo>
                    <a:pt x="12780" y="24276"/>
                    <a:pt x="26199" y="10869"/>
                    <a:pt x="42813" y="10869"/>
                  </a:cubicBezTo>
                  <a:lnTo>
                    <a:pt x="42813" y="10869"/>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20" name="Graphic 4">
              <a:extLst>
                <a:ext uri="{FF2B5EF4-FFF2-40B4-BE49-F238E27FC236}">
                  <a16:creationId xmlns:a16="http://schemas.microsoft.com/office/drawing/2014/main" id="{F30599E2-AF7A-D3E2-BA23-929AD6310777}"/>
                </a:ext>
              </a:extLst>
            </p:cNvPr>
            <p:cNvSpPr/>
            <p:nvPr/>
          </p:nvSpPr>
          <p:spPr>
            <a:xfrm>
              <a:off x="2621824" y="1557118"/>
              <a:ext cx="200733" cy="129692"/>
            </a:xfrm>
            <a:custGeom>
              <a:avLst/>
              <a:gdLst>
                <a:gd name="connsiteX0" fmla="*/ 145657 w 200733"/>
                <a:gd name="connsiteY0" fmla="*/ 43509 h 129692"/>
                <a:gd name="connsiteX1" fmla="*/ 196138 w 200733"/>
                <a:gd name="connsiteY1" fmla="*/ 38402 h 129692"/>
                <a:gd name="connsiteX2" fmla="*/ 200611 w 200733"/>
                <a:gd name="connsiteY2" fmla="*/ 24995 h 129692"/>
                <a:gd name="connsiteX3" fmla="*/ 155242 w 200733"/>
                <a:gd name="connsiteY3" fmla="*/ 98 h 129692"/>
                <a:gd name="connsiteX4" fmla="*/ 148213 w 200733"/>
                <a:gd name="connsiteY4" fmla="*/ 5843 h 129692"/>
                <a:gd name="connsiteX5" fmla="*/ 153964 w 200733"/>
                <a:gd name="connsiteY5" fmla="*/ 12866 h 129692"/>
                <a:gd name="connsiteX6" fmla="*/ 153964 w 200733"/>
                <a:gd name="connsiteY6" fmla="*/ 12866 h 129692"/>
                <a:gd name="connsiteX7" fmla="*/ 188470 w 200733"/>
                <a:gd name="connsiteY7" fmla="*/ 25634 h 129692"/>
                <a:gd name="connsiteX8" fmla="*/ 187831 w 200733"/>
                <a:gd name="connsiteY8" fmla="*/ 29464 h 129692"/>
                <a:gd name="connsiteX9" fmla="*/ 146935 w 200733"/>
                <a:gd name="connsiteY9" fmla="*/ 30741 h 129692"/>
                <a:gd name="connsiteX10" fmla="*/ 129682 w 200733"/>
                <a:gd name="connsiteY10" fmla="*/ 29464 h 129692"/>
                <a:gd name="connsiteX11" fmla="*/ 26804 w 200733"/>
                <a:gd name="connsiteY11" fmla="*/ 40317 h 129692"/>
                <a:gd name="connsiteX12" fmla="*/ 14025 w 200733"/>
                <a:gd name="connsiteY12" fmla="*/ 126501 h 129692"/>
                <a:gd name="connsiteX13" fmla="*/ 19136 w 200733"/>
                <a:gd name="connsiteY13" fmla="*/ 129693 h 129692"/>
                <a:gd name="connsiteX14" fmla="*/ 22331 w 200733"/>
                <a:gd name="connsiteY14" fmla="*/ 129054 h 129692"/>
                <a:gd name="connsiteX15" fmla="*/ 24248 w 200733"/>
                <a:gd name="connsiteY15" fmla="*/ 120117 h 129692"/>
                <a:gd name="connsiteX16" fmla="*/ 24248 w 200733"/>
                <a:gd name="connsiteY16" fmla="*/ 120117 h 129692"/>
                <a:gd name="connsiteX17" fmla="*/ 33194 w 200733"/>
                <a:gd name="connsiteY17" fmla="*/ 51170 h 129692"/>
                <a:gd name="connsiteX18" fmla="*/ 127765 w 200733"/>
                <a:gd name="connsiteY18" fmla="*/ 42232 h 129692"/>
                <a:gd name="connsiteX19" fmla="*/ 145657 w 200733"/>
                <a:gd name="connsiteY19" fmla="*/ 43509 h 129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733" h="129692">
                  <a:moveTo>
                    <a:pt x="145657" y="43509"/>
                  </a:moveTo>
                  <a:cubicBezTo>
                    <a:pt x="178246" y="46062"/>
                    <a:pt x="189748" y="44786"/>
                    <a:pt x="196138" y="38402"/>
                  </a:cubicBezTo>
                  <a:cubicBezTo>
                    <a:pt x="199333" y="34571"/>
                    <a:pt x="201250" y="30102"/>
                    <a:pt x="200611" y="24995"/>
                  </a:cubicBezTo>
                  <a:cubicBezTo>
                    <a:pt x="199972" y="7120"/>
                    <a:pt x="165466" y="2013"/>
                    <a:pt x="155242" y="98"/>
                  </a:cubicBezTo>
                  <a:cubicBezTo>
                    <a:pt x="152047" y="-541"/>
                    <a:pt x="148852" y="2013"/>
                    <a:pt x="148213" y="5843"/>
                  </a:cubicBezTo>
                  <a:cubicBezTo>
                    <a:pt x="147574" y="9035"/>
                    <a:pt x="150130" y="12227"/>
                    <a:pt x="153964" y="12866"/>
                  </a:cubicBezTo>
                  <a:cubicBezTo>
                    <a:pt x="153964" y="12866"/>
                    <a:pt x="153964" y="12866"/>
                    <a:pt x="153964" y="12866"/>
                  </a:cubicBezTo>
                  <a:cubicBezTo>
                    <a:pt x="172495" y="15419"/>
                    <a:pt x="188470" y="21803"/>
                    <a:pt x="188470" y="25634"/>
                  </a:cubicBezTo>
                  <a:cubicBezTo>
                    <a:pt x="188470" y="27549"/>
                    <a:pt x="188470" y="28826"/>
                    <a:pt x="187831" y="29464"/>
                  </a:cubicBezTo>
                  <a:cubicBezTo>
                    <a:pt x="183358" y="33294"/>
                    <a:pt x="157798" y="32018"/>
                    <a:pt x="146935" y="30741"/>
                  </a:cubicBezTo>
                  <a:lnTo>
                    <a:pt x="129682" y="29464"/>
                  </a:lnTo>
                  <a:cubicBezTo>
                    <a:pt x="92621" y="26272"/>
                    <a:pt x="53642" y="23080"/>
                    <a:pt x="26804" y="40317"/>
                  </a:cubicBezTo>
                  <a:cubicBezTo>
                    <a:pt x="-3867" y="60107"/>
                    <a:pt x="-8340" y="91389"/>
                    <a:pt x="14025" y="126501"/>
                  </a:cubicBezTo>
                  <a:cubicBezTo>
                    <a:pt x="15303" y="128416"/>
                    <a:pt x="17220" y="129693"/>
                    <a:pt x="19136" y="129693"/>
                  </a:cubicBezTo>
                  <a:cubicBezTo>
                    <a:pt x="20414" y="129693"/>
                    <a:pt x="21693" y="129054"/>
                    <a:pt x="22331" y="129054"/>
                  </a:cubicBezTo>
                  <a:cubicBezTo>
                    <a:pt x="25526" y="127139"/>
                    <a:pt x="26165" y="123309"/>
                    <a:pt x="24248" y="120117"/>
                  </a:cubicBezTo>
                  <a:cubicBezTo>
                    <a:pt x="24248" y="120117"/>
                    <a:pt x="24248" y="120117"/>
                    <a:pt x="24248" y="120117"/>
                  </a:cubicBezTo>
                  <a:cubicBezTo>
                    <a:pt x="11469" y="99688"/>
                    <a:pt x="1884" y="70960"/>
                    <a:pt x="33194" y="51170"/>
                  </a:cubicBezTo>
                  <a:cubicBezTo>
                    <a:pt x="56198" y="36486"/>
                    <a:pt x="92621" y="39040"/>
                    <a:pt x="127765" y="42232"/>
                  </a:cubicBezTo>
                  <a:cubicBezTo>
                    <a:pt x="134155" y="42870"/>
                    <a:pt x="139906" y="43509"/>
                    <a:pt x="145657" y="43509"/>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21" name="Graphic 4">
              <a:extLst>
                <a:ext uri="{FF2B5EF4-FFF2-40B4-BE49-F238E27FC236}">
                  <a16:creationId xmlns:a16="http://schemas.microsoft.com/office/drawing/2014/main" id="{29C6BC45-BE6D-B668-D939-ACB695C0A496}"/>
                </a:ext>
              </a:extLst>
            </p:cNvPr>
            <p:cNvSpPr/>
            <p:nvPr/>
          </p:nvSpPr>
          <p:spPr>
            <a:xfrm>
              <a:off x="2719341" y="1538702"/>
              <a:ext cx="142164" cy="170452"/>
            </a:xfrm>
            <a:custGeom>
              <a:avLst/>
              <a:gdLst>
                <a:gd name="connsiteX0" fmla="*/ 136322 w 142164"/>
                <a:gd name="connsiteY0" fmla="*/ 29366 h 170452"/>
                <a:gd name="connsiteX1" fmla="*/ 65393 w 142164"/>
                <a:gd name="connsiteY1" fmla="*/ 0 h 170452"/>
                <a:gd name="connsiteX2" fmla="*/ 58365 w 142164"/>
                <a:gd name="connsiteY2" fmla="*/ 5746 h 170452"/>
                <a:gd name="connsiteX3" fmla="*/ 64116 w 142164"/>
                <a:gd name="connsiteY3" fmla="*/ 12768 h 170452"/>
                <a:gd name="connsiteX4" fmla="*/ 125459 w 142164"/>
                <a:gd name="connsiteY4" fmla="*/ 37027 h 170452"/>
                <a:gd name="connsiteX5" fmla="*/ 128015 w 142164"/>
                <a:gd name="connsiteY5" fmla="*/ 56179 h 170452"/>
                <a:gd name="connsiteX6" fmla="*/ 89036 w 142164"/>
                <a:gd name="connsiteY6" fmla="*/ 82353 h 170452"/>
                <a:gd name="connsiteX7" fmla="*/ 45585 w 142164"/>
                <a:gd name="connsiteY7" fmla="*/ 86184 h 170452"/>
                <a:gd name="connsiteX8" fmla="*/ 27054 w 142164"/>
                <a:gd name="connsiteY8" fmla="*/ 86184 h 170452"/>
                <a:gd name="connsiteX9" fmla="*/ 2133 w 142164"/>
                <a:gd name="connsiteY9" fmla="*/ 106613 h 170452"/>
                <a:gd name="connsiteX10" fmla="*/ 25137 w 142164"/>
                <a:gd name="connsiteY10" fmla="*/ 168537 h 170452"/>
                <a:gd name="connsiteX11" fmla="*/ 34083 w 142164"/>
                <a:gd name="connsiteY11" fmla="*/ 168537 h 170452"/>
                <a:gd name="connsiteX12" fmla="*/ 34083 w 142164"/>
                <a:gd name="connsiteY12" fmla="*/ 159600 h 170452"/>
                <a:gd name="connsiteX13" fmla="*/ 34083 w 142164"/>
                <a:gd name="connsiteY13" fmla="*/ 159600 h 170452"/>
                <a:gd name="connsiteX14" fmla="*/ 14274 w 142164"/>
                <a:gd name="connsiteY14" fmla="*/ 111081 h 170452"/>
                <a:gd name="connsiteX15" fmla="*/ 28332 w 142164"/>
                <a:gd name="connsiteY15" fmla="*/ 99590 h 170452"/>
                <a:gd name="connsiteX16" fmla="*/ 44946 w 142164"/>
                <a:gd name="connsiteY16" fmla="*/ 99590 h 170452"/>
                <a:gd name="connsiteX17" fmla="*/ 90953 w 142164"/>
                <a:gd name="connsiteY17" fmla="*/ 95760 h 170452"/>
                <a:gd name="connsiteX18" fmla="*/ 139517 w 142164"/>
                <a:gd name="connsiteY18" fmla="*/ 60648 h 170452"/>
                <a:gd name="connsiteX19" fmla="*/ 136322 w 142164"/>
                <a:gd name="connsiteY19" fmla="*/ 29366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164" h="170452">
                  <a:moveTo>
                    <a:pt x="136322" y="29366"/>
                  </a:moveTo>
                  <a:cubicBezTo>
                    <a:pt x="118430" y="4469"/>
                    <a:pt x="67950" y="0"/>
                    <a:pt x="65393" y="0"/>
                  </a:cubicBezTo>
                  <a:cubicBezTo>
                    <a:pt x="61560" y="0"/>
                    <a:pt x="59004" y="2554"/>
                    <a:pt x="58365" y="5746"/>
                  </a:cubicBezTo>
                  <a:cubicBezTo>
                    <a:pt x="58365" y="9576"/>
                    <a:pt x="60921" y="12130"/>
                    <a:pt x="64116" y="12768"/>
                  </a:cubicBezTo>
                  <a:cubicBezTo>
                    <a:pt x="76895" y="14045"/>
                    <a:pt x="113318" y="19790"/>
                    <a:pt x="125459" y="37027"/>
                  </a:cubicBezTo>
                  <a:cubicBezTo>
                    <a:pt x="129293" y="42773"/>
                    <a:pt x="130571" y="49795"/>
                    <a:pt x="128015" y="56179"/>
                  </a:cubicBezTo>
                  <a:cubicBezTo>
                    <a:pt x="124820" y="68309"/>
                    <a:pt x="109484" y="77885"/>
                    <a:pt x="89036" y="82353"/>
                  </a:cubicBezTo>
                  <a:cubicBezTo>
                    <a:pt x="74978" y="85545"/>
                    <a:pt x="60282" y="86184"/>
                    <a:pt x="45585" y="86184"/>
                  </a:cubicBezTo>
                  <a:cubicBezTo>
                    <a:pt x="39195" y="85545"/>
                    <a:pt x="33444" y="85545"/>
                    <a:pt x="27054" y="86184"/>
                  </a:cubicBezTo>
                  <a:cubicBezTo>
                    <a:pt x="15552" y="87461"/>
                    <a:pt x="5967" y="95121"/>
                    <a:pt x="2133" y="106613"/>
                  </a:cubicBezTo>
                  <a:cubicBezTo>
                    <a:pt x="-1062" y="114912"/>
                    <a:pt x="-4896" y="137894"/>
                    <a:pt x="25137" y="168537"/>
                  </a:cubicBezTo>
                  <a:cubicBezTo>
                    <a:pt x="27693" y="171091"/>
                    <a:pt x="31527" y="171091"/>
                    <a:pt x="34083" y="168537"/>
                  </a:cubicBezTo>
                  <a:cubicBezTo>
                    <a:pt x="36639" y="165984"/>
                    <a:pt x="36639" y="162153"/>
                    <a:pt x="34083" y="159600"/>
                  </a:cubicBezTo>
                  <a:lnTo>
                    <a:pt x="34083" y="159600"/>
                  </a:lnTo>
                  <a:cubicBezTo>
                    <a:pt x="16830" y="141724"/>
                    <a:pt x="9162" y="123849"/>
                    <a:pt x="14274" y="111081"/>
                  </a:cubicBezTo>
                  <a:cubicBezTo>
                    <a:pt x="16191" y="104697"/>
                    <a:pt x="21942" y="100229"/>
                    <a:pt x="28332" y="99590"/>
                  </a:cubicBezTo>
                  <a:cubicBezTo>
                    <a:pt x="34083" y="98952"/>
                    <a:pt x="39834" y="98952"/>
                    <a:pt x="44946" y="99590"/>
                  </a:cubicBezTo>
                  <a:cubicBezTo>
                    <a:pt x="60282" y="100229"/>
                    <a:pt x="75617" y="98952"/>
                    <a:pt x="90953" y="95760"/>
                  </a:cubicBezTo>
                  <a:cubicBezTo>
                    <a:pt x="116513" y="90653"/>
                    <a:pt x="135044" y="77246"/>
                    <a:pt x="139517" y="60648"/>
                  </a:cubicBezTo>
                  <a:cubicBezTo>
                    <a:pt x="143990" y="49795"/>
                    <a:pt x="142712" y="38304"/>
                    <a:pt x="136322" y="29366"/>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122" name="Graphic 4">
            <a:extLst>
              <a:ext uri="{FF2B5EF4-FFF2-40B4-BE49-F238E27FC236}">
                <a16:creationId xmlns:a16="http://schemas.microsoft.com/office/drawing/2014/main" id="{4BFCF05D-0BB2-482F-8898-4B257E26D1E0}"/>
              </a:ext>
            </a:extLst>
          </p:cNvPr>
          <p:cNvGrpSpPr/>
          <p:nvPr/>
        </p:nvGrpSpPr>
        <p:grpSpPr>
          <a:xfrm>
            <a:off x="5789071" y="1720109"/>
            <a:ext cx="587642" cy="692142"/>
            <a:chOff x="3681881" y="3880347"/>
            <a:chExt cx="213047" cy="248335"/>
          </a:xfrm>
          <a:solidFill>
            <a:sysClr val="window" lastClr="FFFFFF">
              <a:lumMod val="65000"/>
            </a:sysClr>
          </a:solidFill>
        </p:grpSpPr>
        <p:sp>
          <p:nvSpPr>
            <p:cNvPr id="124" name="Graphic 4">
              <a:extLst>
                <a:ext uri="{FF2B5EF4-FFF2-40B4-BE49-F238E27FC236}">
                  <a16:creationId xmlns:a16="http://schemas.microsoft.com/office/drawing/2014/main" id="{A7DA8FAE-6277-D442-5697-2EDB0DE1AACA}"/>
                </a:ext>
              </a:extLst>
            </p:cNvPr>
            <p:cNvSpPr/>
            <p:nvPr/>
          </p:nvSpPr>
          <p:spPr>
            <a:xfrm>
              <a:off x="3712810" y="3880347"/>
              <a:ext cx="182118" cy="165344"/>
            </a:xfrm>
            <a:custGeom>
              <a:avLst/>
              <a:gdLst>
                <a:gd name="connsiteX0" fmla="*/ 175466 w 182118"/>
                <a:gd name="connsiteY0" fmla="*/ 77246 h 165344"/>
                <a:gd name="connsiteX1" fmla="*/ 129459 w 182118"/>
                <a:gd name="connsiteY1" fmla="*/ 74693 h 165344"/>
                <a:gd name="connsiteX2" fmla="*/ 147990 w 182118"/>
                <a:gd name="connsiteY2" fmla="*/ 31281 h 165344"/>
                <a:gd name="connsiteX3" fmla="*/ 146712 w 182118"/>
                <a:gd name="connsiteY3" fmla="*/ 22344 h 165344"/>
                <a:gd name="connsiteX4" fmla="*/ 139044 w 182118"/>
                <a:gd name="connsiteY4" fmla="*/ 22344 h 165344"/>
                <a:gd name="connsiteX5" fmla="*/ 100065 w 182118"/>
                <a:gd name="connsiteY5" fmla="*/ 37665 h 165344"/>
                <a:gd name="connsiteX6" fmla="*/ 80895 w 182118"/>
                <a:gd name="connsiteY6" fmla="*/ 6384 h 165344"/>
                <a:gd name="connsiteX7" fmla="*/ 74506 w 182118"/>
                <a:gd name="connsiteY7" fmla="*/ 0 h 165344"/>
                <a:gd name="connsiteX8" fmla="*/ 68116 w 182118"/>
                <a:gd name="connsiteY8" fmla="*/ 6384 h 165344"/>
                <a:gd name="connsiteX9" fmla="*/ 48946 w 182118"/>
                <a:gd name="connsiteY9" fmla="*/ 37027 h 165344"/>
                <a:gd name="connsiteX10" fmla="*/ 10606 w 182118"/>
                <a:gd name="connsiteY10" fmla="*/ 21705 h 165344"/>
                <a:gd name="connsiteX11" fmla="*/ 1660 w 182118"/>
                <a:gd name="connsiteY11" fmla="*/ 21705 h 165344"/>
                <a:gd name="connsiteX12" fmla="*/ 382 w 182118"/>
                <a:gd name="connsiteY12" fmla="*/ 28728 h 165344"/>
                <a:gd name="connsiteX13" fmla="*/ 9967 w 182118"/>
                <a:gd name="connsiteY13" fmla="*/ 68947 h 165344"/>
                <a:gd name="connsiteX14" fmla="*/ 16357 w 182118"/>
                <a:gd name="connsiteY14" fmla="*/ 75331 h 165344"/>
                <a:gd name="connsiteX15" fmla="*/ 22747 w 182118"/>
                <a:gd name="connsiteY15" fmla="*/ 68947 h 165344"/>
                <a:gd name="connsiteX16" fmla="*/ 18913 w 182118"/>
                <a:gd name="connsiteY16" fmla="*/ 43411 h 165344"/>
                <a:gd name="connsiteX17" fmla="*/ 54058 w 182118"/>
                <a:gd name="connsiteY17" fmla="*/ 47880 h 165344"/>
                <a:gd name="connsiteX18" fmla="*/ 74506 w 182118"/>
                <a:gd name="connsiteY18" fmla="*/ 26813 h 165344"/>
                <a:gd name="connsiteX19" fmla="*/ 96870 w 182118"/>
                <a:gd name="connsiteY19" fmla="*/ 49157 h 165344"/>
                <a:gd name="connsiteX20" fmla="*/ 124986 w 182118"/>
                <a:gd name="connsiteY20" fmla="*/ 43411 h 165344"/>
                <a:gd name="connsiteX21" fmla="*/ 117957 w 182118"/>
                <a:gd name="connsiteY21" fmla="*/ 78523 h 165344"/>
                <a:gd name="connsiteX22" fmla="*/ 151185 w 182118"/>
                <a:gd name="connsiteY22" fmla="*/ 91291 h 165344"/>
                <a:gd name="connsiteX23" fmla="*/ 130098 w 182118"/>
                <a:gd name="connsiteY23" fmla="*/ 118104 h 165344"/>
                <a:gd name="connsiteX24" fmla="*/ 137127 w 182118"/>
                <a:gd name="connsiteY24" fmla="*/ 141086 h 165344"/>
                <a:gd name="connsiteX25" fmla="*/ 116679 w 182118"/>
                <a:gd name="connsiteY25" fmla="*/ 155131 h 165344"/>
                <a:gd name="connsiteX26" fmla="*/ 117957 w 182118"/>
                <a:gd name="connsiteY26" fmla="*/ 164068 h 165344"/>
                <a:gd name="connsiteX27" fmla="*/ 121791 w 182118"/>
                <a:gd name="connsiteY27" fmla="*/ 165345 h 165344"/>
                <a:gd name="connsiteX28" fmla="*/ 126903 w 182118"/>
                <a:gd name="connsiteY28" fmla="*/ 162792 h 165344"/>
                <a:gd name="connsiteX29" fmla="*/ 150546 w 182118"/>
                <a:gd name="connsiteY29" fmla="*/ 151300 h 165344"/>
                <a:gd name="connsiteX30" fmla="*/ 156297 w 182118"/>
                <a:gd name="connsiteY30" fmla="*/ 146193 h 165344"/>
                <a:gd name="connsiteX31" fmla="*/ 153102 w 182118"/>
                <a:gd name="connsiteY31" fmla="*/ 139171 h 165344"/>
                <a:gd name="connsiteX32" fmla="*/ 141600 w 182118"/>
                <a:gd name="connsiteY32" fmla="*/ 119381 h 165344"/>
                <a:gd name="connsiteX33" fmla="*/ 178661 w 182118"/>
                <a:gd name="connsiteY33" fmla="*/ 88099 h 165344"/>
                <a:gd name="connsiteX34" fmla="*/ 181218 w 182118"/>
                <a:gd name="connsiteY34" fmla="*/ 79161 h 165344"/>
                <a:gd name="connsiteX35" fmla="*/ 175466 w 182118"/>
                <a:gd name="connsiteY35" fmla="*/ 77246 h 165344"/>
                <a:gd name="connsiteX36" fmla="*/ 175466 w 182118"/>
                <a:gd name="connsiteY36" fmla="*/ 77246 h 165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2118" h="165344">
                  <a:moveTo>
                    <a:pt x="175466" y="77246"/>
                  </a:moveTo>
                  <a:cubicBezTo>
                    <a:pt x="153741" y="81077"/>
                    <a:pt x="131376" y="79161"/>
                    <a:pt x="129459" y="74693"/>
                  </a:cubicBezTo>
                  <a:cubicBezTo>
                    <a:pt x="126903" y="67670"/>
                    <a:pt x="137127" y="46603"/>
                    <a:pt x="147990" y="31281"/>
                  </a:cubicBezTo>
                  <a:cubicBezTo>
                    <a:pt x="149907" y="28728"/>
                    <a:pt x="149268" y="24259"/>
                    <a:pt x="146712" y="22344"/>
                  </a:cubicBezTo>
                  <a:cubicBezTo>
                    <a:pt x="144795" y="20429"/>
                    <a:pt x="141600" y="20429"/>
                    <a:pt x="139044" y="22344"/>
                  </a:cubicBezTo>
                  <a:cubicBezTo>
                    <a:pt x="127542" y="30005"/>
                    <a:pt x="107733" y="39581"/>
                    <a:pt x="100065" y="37665"/>
                  </a:cubicBezTo>
                  <a:cubicBezTo>
                    <a:pt x="89202" y="35112"/>
                    <a:pt x="82174" y="14045"/>
                    <a:pt x="80895" y="6384"/>
                  </a:cubicBezTo>
                  <a:cubicBezTo>
                    <a:pt x="80895" y="2553"/>
                    <a:pt x="78339" y="0"/>
                    <a:pt x="74506" y="0"/>
                  </a:cubicBezTo>
                  <a:cubicBezTo>
                    <a:pt x="70671" y="0"/>
                    <a:pt x="68116" y="2553"/>
                    <a:pt x="68116" y="6384"/>
                  </a:cubicBezTo>
                  <a:cubicBezTo>
                    <a:pt x="68116" y="6384"/>
                    <a:pt x="63643" y="30005"/>
                    <a:pt x="48946" y="37027"/>
                  </a:cubicBezTo>
                  <a:cubicBezTo>
                    <a:pt x="36805" y="42773"/>
                    <a:pt x="16996" y="28089"/>
                    <a:pt x="10606" y="21705"/>
                  </a:cubicBezTo>
                  <a:cubicBezTo>
                    <a:pt x="8050" y="19152"/>
                    <a:pt x="4216" y="19152"/>
                    <a:pt x="1660" y="21705"/>
                  </a:cubicBezTo>
                  <a:cubicBezTo>
                    <a:pt x="-257" y="23621"/>
                    <a:pt x="-257" y="26174"/>
                    <a:pt x="382" y="28728"/>
                  </a:cubicBezTo>
                  <a:cubicBezTo>
                    <a:pt x="6133" y="41496"/>
                    <a:pt x="9328" y="54902"/>
                    <a:pt x="9967" y="68947"/>
                  </a:cubicBezTo>
                  <a:cubicBezTo>
                    <a:pt x="9967" y="72777"/>
                    <a:pt x="12523" y="75331"/>
                    <a:pt x="16357" y="75331"/>
                  </a:cubicBezTo>
                  <a:cubicBezTo>
                    <a:pt x="20191" y="75331"/>
                    <a:pt x="22747" y="72777"/>
                    <a:pt x="22747" y="68947"/>
                  </a:cubicBezTo>
                  <a:cubicBezTo>
                    <a:pt x="22747" y="60009"/>
                    <a:pt x="21469" y="51710"/>
                    <a:pt x="18913" y="43411"/>
                  </a:cubicBezTo>
                  <a:cubicBezTo>
                    <a:pt x="29137" y="49157"/>
                    <a:pt x="41917" y="53625"/>
                    <a:pt x="54058" y="47880"/>
                  </a:cubicBezTo>
                  <a:cubicBezTo>
                    <a:pt x="63004" y="43411"/>
                    <a:pt x="70033" y="35750"/>
                    <a:pt x="74506" y="26813"/>
                  </a:cubicBezTo>
                  <a:cubicBezTo>
                    <a:pt x="78979" y="36389"/>
                    <a:pt x="86007" y="46603"/>
                    <a:pt x="96870" y="49157"/>
                  </a:cubicBezTo>
                  <a:cubicBezTo>
                    <a:pt x="106455" y="49795"/>
                    <a:pt x="116040" y="47880"/>
                    <a:pt x="124986" y="43411"/>
                  </a:cubicBezTo>
                  <a:cubicBezTo>
                    <a:pt x="119235" y="54902"/>
                    <a:pt x="114123" y="68947"/>
                    <a:pt x="117957" y="78523"/>
                  </a:cubicBezTo>
                  <a:cubicBezTo>
                    <a:pt x="121791" y="88099"/>
                    <a:pt x="137127" y="91291"/>
                    <a:pt x="151185" y="91291"/>
                  </a:cubicBezTo>
                  <a:cubicBezTo>
                    <a:pt x="140961" y="98952"/>
                    <a:pt x="131376" y="108528"/>
                    <a:pt x="130098" y="118104"/>
                  </a:cubicBezTo>
                  <a:cubicBezTo>
                    <a:pt x="129459" y="126403"/>
                    <a:pt x="132015" y="134702"/>
                    <a:pt x="137127" y="141086"/>
                  </a:cubicBezTo>
                  <a:cubicBezTo>
                    <a:pt x="128820" y="143640"/>
                    <a:pt x="121791" y="148747"/>
                    <a:pt x="116679" y="155131"/>
                  </a:cubicBezTo>
                  <a:cubicBezTo>
                    <a:pt x="114762" y="158323"/>
                    <a:pt x="115401" y="162153"/>
                    <a:pt x="117957" y="164068"/>
                  </a:cubicBezTo>
                  <a:cubicBezTo>
                    <a:pt x="119235" y="164707"/>
                    <a:pt x="120513" y="165345"/>
                    <a:pt x="121791" y="165345"/>
                  </a:cubicBezTo>
                  <a:cubicBezTo>
                    <a:pt x="123708" y="165345"/>
                    <a:pt x="125625" y="164068"/>
                    <a:pt x="126903" y="162792"/>
                  </a:cubicBezTo>
                  <a:cubicBezTo>
                    <a:pt x="133932" y="152577"/>
                    <a:pt x="150546" y="151300"/>
                    <a:pt x="150546" y="151300"/>
                  </a:cubicBezTo>
                  <a:cubicBezTo>
                    <a:pt x="153102" y="151300"/>
                    <a:pt x="155658" y="149385"/>
                    <a:pt x="156297" y="146193"/>
                  </a:cubicBezTo>
                  <a:cubicBezTo>
                    <a:pt x="156936" y="143640"/>
                    <a:pt x="155658" y="140448"/>
                    <a:pt x="153102" y="139171"/>
                  </a:cubicBezTo>
                  <a:cubicBezTo>
                    <a:pt x="153102" y="139171"/>
                    <a:pt x="139683" y="130872"/>
                    <a:pt x="141600" y="119381"/>
                  </a:cubicBezTo>
                  <a:cubicBezTo>
                    <a:pt x="142878" y="111081"/>
                    <a:pt x="164604" y="95760"/>
                    <a:pt x="178661" y="88099"/>
                  </a:cubicBezTo>
                  <a:cubicBezTo>
                    <a:pt x="181856" y="86184"/>
                    <a:pt x="183134" y="82353"/>
                    <a:pt x="181218" y="79161"/>
                  </a:cubicBezTo>
                  <a:cubicBezTo>
                    <a:pt x="180578" y="77885"/>
                    <a:pt x="178023" y="76608"/>
                    <a:pt x="175466" y="77246"/>
                  </a:cubicBezTo>
                  <a:lnTo>
                    <a:pt x="175466" y="77246"/>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25" name="Graphic 4">
              <a:extLst>
                <a:ext uri="{FF2B5EF4-FFF2-40B4-BE49-F238E27FC236}">
                  <a16:creationId xmlns:a16="http://schemas.microsoft.com/office/drawing/2014/main" id="{21087CDE-9E72-C799-2940-CF485B11F544}"/>
                </a:ext>
              </a:extLst>
            </p:cNvPr>
            <p:cNvSpPr/>
            <p:nvPr/>
          </p:nvSpPr>
          <p:spPr>
            <a:xfrm>
              <a:off x="3760477" y="4083995"/>
              <a:ext cx="44729" cy="44687"/>
            </a:xfrm>
            <a:custGeom>
              <a:avLst/>
              <a:gdLst>
                <a:gd name="connsiteX0" fmla="*/ 22365 w 44729"/>
                <a:gd name="connsiteY0" fmla="*/ 0 h 44687"/>
                <a:gd name="connsiteX1" fmla="*/ 0 w 44729"/>
                <a:gd name="connsiteY1" fmla="*/ 22344 h 44687"/>
                <a:gd name="connsiteX2" fmla="*/ 22365 w 44729"/>
                <a:gd name="connsiteY2" fmla="*/ 44688 h 44687"/>
                <a:gd name="connsiteX3" fmla="*/ 44730 w 44729"/>
                <a:gd name="connsiteY3" fmla="*/ 22344 h 44687"/>
                <a:gd name="connsiteX4" fmla="*/ 22365 w 44729"/>
                <a:gd name="connsiteY4" fmla="*/ 0 h 44687"/>
                <a:gd name="connsiteX5" fmla="*/ 22365 w 44729"/>
                <a:gd name="connsiteY5" fmla="*/ 31920 h 44687"/>
                <a:gd name="connsiteX6" fmla="*/ 12780 w 44729"/>
                <a:gd name="connsiteY6" fmla="*/ 22344 h 44687"/>
                <a:gd name="connsiteX7" fmla="*/ 22365 w 44729"/>
                <a:gd name="connsiteY7" fmla="*/ 12768 h 44687"/>
                <a:gd name="connsiteX8" fmla="*/ 31950 w 44729"/>
                <a:gd name="connsiteY8" fmla="*/ 22344 h 44687"/>
                <a:gd name="connsiteX9" fmla="*/ 22365 w 44729"/>
                <a:gd name="connsiteY9" fmla="*/ 3192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29" h="44687">
                  <a:moveTo>
                    <a:pt x="22365" y="0"/>
                  </a:moveTo>
                  <a:cubicBezTo>
                    <a:pt x="10224" y="0"/>
                    <a:pt x="0" y="10215"/>
                    <a:pt x="0" y="22344"/>
                  </a:cubicBezTo>
                  <a:cubicBezTo>
                    <a:pt x="0" y="34474"/>
                    <a:pt x="10224" y="44688"/>
                    <a:pt x="22365" y="44688"/>
                  </a:cubicBezTo>
                  <a:cubicBezTo>
                    <a:pt x="34506" y="44688"/>
                    <a:pt x="44730" y="34474"/>
                    <a:pt x="44730" y="22344"/>
                  </a:cubicBezTo>
                  <a:cubicBezTo>
                    <a:pt x="44730" y="10215"/>
                    <a:pt x="34506" y="0"/>
                    <a:pt x="22365" y="0"/>
                  </a:cubicBezTo>
                  <a:close/>
                  <a:moveTo>
                    <a:pt x="22365" y="31920"/>
                  </a:moveTo>
                  <a:cubicBezTo>
                    <a:pt x="17253" y="31920"/>
                    <a:pt x="12780" y="27451"/>
                    <a:pt x="12780" y="22344"/>
                  </a:cubicBezTo>
                  <a:cubicBezTo>
                    <a:pt x="12780" y="17237"/>
                    <a:pt x="17253" y="12768"/>
                    <a:pt x="22365" y="12768"/>
                  </a:cubicBezTo>
                  <a:cubicBezTo>
                    <a:pt x="27477" y="12768"/>
                    <a:pt x="31950" y="17237"/>
                    <a:pt x="31950" y="22344"/>
                  </a:cubicBezTo>
                  <a:cubicBezTo>
                    <a:pt x="31950" y="27451"/>
                    <a:pt x="27477" y="31920"/>
                    <a:pt x="22365" y="31920"/>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26" name="Graphic 4">
              <a:extLst>
                <a:ext uri="{FF2B5EF4-FFF2-40B4-BE49-F238E27FC236}">
                  <a16:creationId xmlns:a16="http://schemas.microsoft.com/office/drawing/2014/main" id="{5F08F4ED-7A91-7F5C-D547-03F2E5E44942}"/>
                </a:ext>
              </a:extLst>
            </p:cNvPr>
            <p:cNvSpPr/>
            <p:nvPr/>
          </p:nvSpPr>
          <p:spPr>
            <a:xfrm>
              <a:off x="3760477" y="3950570"/>
              <a:ext cx="44729" cy="123210"/>
            </a:xfrm>
            <a:custGeom>
              <a:avLst/>
              <a:gdLst>
                <a:gd name="connsiteX0" fmla="*/ 22365 w 44729"/>
                <a:gd name="connsiteY0" fmla="*/ 0 h 123210"/>
                <a:gd name="connsiteX1" fmla="*/ 0 w 44729"/>
                <a:gd name="connsiteY1" fmla="*/ 22344 h 123210"/>
                <a:gd name="connsiteX2" fmla="*/ 0 w 44729"/>
                <a:gd name="connsiteY2" fmla="*/ 22344 h 123210"/>
                <a:gd name="connsiteX3" fmla="*/ 4473 w 44729"/>
                <a:gd name="connsiteY3" fmla="*/ 105336 h 123210"/>
                <a:gd name="connsiteX4" fmla="*/ 22365 w 44729"/>
                <a:gd name="connsiteY4" fmla="*/ 123211 h 123210"/>
                <a:gd name="connsiteX5" fmla="*/ 40257 w 44729"/>
                <a:gd name="connsiteY5" fmla="*/ 105336 h 123210"/>
                <a:gd name="connsiteX6" fmla="*/ 40257 w 44729"/>
                <a:gd name="connsiteY6" fmla="*/ 105336 h 123210"/>
                <a:gd name="connsiteX7" fmla="*/ 44730 w 44729"/>
                <a:gd name="connsiteY7" fmla="*/ 21705 h 123210"/>
                <a:gd name="connsiteX8" fmla="*/ 22365 w 44729"/>
                <a:gd name="connsiteY8" fmla="*/ 0 h 123210"/>
                <a:gd name="connsiteX9" fmla="*/ 27477 w 44729"/>
                <a:gd name="connsiteY9" fmla="*/ 105974 h 123210"/>
                <a:gd name="connsiteX10" fmla="*/ 22365 w 44729"/>
                <a:gd name="connsiteY10" fmla="*/ 111720 h 123210"/>
                <a:gd name="connsiteX11" fmla="*/ 17253 w 44729"/>
                <a:gd name="connsiteY11" fmla="*/ 105336 h 123210"/>
                <a:gd name="connsiteX12" fmla="*/ 12780 w 44729"/>
                <a:gd name="connsiteY12" fmla="*/ 22344 h 123210"/>
                <a:gd name="connsiteX13" fmla="*/ 22365 w 44729"/>
                <a:gd name="connsiteY13" fmla="*/ 12768 h 123210"/>
                <a:gd name="connsiteX14" fmla="*/ 31950 w 44729"/>
                <a:gd name="connsiteY14" fmla="*/ 22344 h 123210"/>
                <a:gd name="connsiteX15" fmla="*/ 27477 w 44729"/>
                <a:gd name="connsiteY15" fmla="*/ 105974 h 12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29" h="123210">
                  <a:moveTo>
                    <a:pt x="22365" y="0"/>
                  </a:moveTo>
                  <a:cubicBezTo>
                    <a:pt x="10224" y="0"/>
                    <a:pt x="0" y="10214"/>
                    <a:pt x="0" y="22344"/>
                  </a:cubicBezTo>
                  <a:lnTo>
                    <a:pt x="0" y="22344"/>
                  </a:lnTo>
                  <a:lnTo>
                    <a:pt x="4473" y="105336"/>
                  </a:lnTo>
                  <a:cubicBezTo>
                    <a:pt x="4473" y="115550"/>
                    <a:pt x="12780" y="123211"/>
                    <a:pt x="22365" y="123211"/>
                  </a:cubicBezTo>
                  <a:cubicBezTo>
                    <a:pt x="32589" y="123211"/>
                    <a:pt x="40257" y="114912"/>
                    <a:pt x="40257" y="105336"/>
                  </a:cubicBezTo>
                  <a:cubicBezTo>
                    <a:pt x="40257" y="105336"/>
                    <a:pt x="40257" y="105336"/>
                    <a:pt x="40257" y="105336"/>
                  </a:cubicBezTo>
                  <a:lnTo>
                    <a:pt x="44730" y="21705"/>
                  </a:lnTo>
                  <a:cubicBezTo>
                    <a:pt x="44091" y="9576"/>
                    <a:pt x="34506" y="0"/>
                    <a:pt x="22365" y="0"/>
                  </a:cubicBezTo>
                  <a:close/>
                  <a:moveTo>
                    <a:pt x="27477" y="105974"/>
                  </a:moveTo>
                  <a:cubicBezTo>
                    <a:pt x="27477" y="109166"/>
                    <a:pt x="24921" y="111720"/>
                    <a:pt x="22365" y="111720"/>
                  </a:cubicBezTo>
                  <a:cubicBezTo>
                    <a:pt x="19170" y="111081"/>
                    <a:pt x="16614" y="108528"/>
                    <a:pt x="17253" y="105336"/>
                  </a:cubicBezTo>
                  <a:lnTo>
                    <a:pt x="12780" y="22344"/>
                  </a:lnTo>
                  <a:cubicBezTo>
                    <a:pt x="12780" y="17237"/>
                    <a:pt x="17253" y="12768"/>
                    <a:pt x="22365" y="12768"/>
                  </a:cubicBezTo>
                  <a:cubicBezTo>
                    <a:pt x="27477" y="12768"/>
                    <a:pt x="31950" y="17237"/>
                    <a:pt x="31950" y="22344"/>
                  </a:cubicBezTo>
                  <a:lnTo>
                    <a:pt x="27477" y="105974"/>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27" name="Graphic 4">
              <a:extLst>
                <a:ext uri="{FF2B5EF4-FFF2-40B4-BE49-F238E27FC236}">
                  <a16:creationId xmlns:a16="http://schemas.microsoft.com/office/drawing/2014/main" id="{4406270B-CF9A-81C5-8A02-8969EB5FCA1B}"/>
                </a:ext>
              </a:extLst>
            </p:cNvPr>
            <p:cNvSpPr/>
            <p:nvPr/>
          </p:nvSpPr>
          <p:spPr>
            <a:xfrm>
              <a:off x="3682520" y="3974191"/>
              <a:ext cx="23642" cy="23620"/>
            </a:xfrm>
            <a:custGeom>
              <a:avLst/>
              <a:gdLst>
                <a:gd name="connsiteX0" fmla="*/ 10863 w 23642"/>
                <a:gd name="connsiteY0" fmla="*/ 1915 h 23620"/>
                <a:gd name="connsiteX1" fmla="*/ 1917 w 23642"/>
                <a:gd name="connsiteY1" fmla="*/ 1915 h 23620"/>
                <a:gd name="connsiteX2" fmla="*/ 1917 w 23642"/>
                <a:gd name="connsiteY2" fmla="*/ 10853 h 23620"/>
                <a:gd name="connsiteX3" fmla="*/ 12780 w 23642"/>
                <a:gd name="connsiteY3" fmla="*/ 21706 h 23620"/>
                <a:gd name="connsiteX4" fmla="*/ 21726 w 23642"/>
                <a:gd name="connsiteY4" fmla="*/ 21706 h 23620"/>
                <a:gd name="connsiteX5" fmla="*/ 21726 w 23642"/>
                <a:gd name="connsiteY5" fmla="*/ 21706 h 23620"/>
                <a:gd name="connsiteX6" fmla="*/ 21726 w 23642"/>
                <a:gd name="connsiteY6" fmla="*/ 12768 h 23620"/>
                <a:gd name="connsiteX7" fmla="*/ 21726 w 23642"/>
                <a:gd name="connsiteY7" fmla="*/ 12768 h 23620"/>
                <a:gd name="connsiteX8" fmla="*/ 10863 w 23642"/>
                <a:gd name="connsiteY8" fmla="*/ 1915 h 2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42" h="23620">
                  <a:moveTo>
                    <a:pt x="10863" y="1915"/>
                  </a:moveTo>
                  <a:cubicBezTo>
                    <a:pt x="8307" y="-638"/>
                    <a:pt x="4473" y="-638"/>
                    <a:pt x="1917" y="1915"/>
                  </a:cubicBezTo>
                  <a:cubicBezTo>
                    <a:pt x="-639" y="4469"/>
                    <a:pt x="-639" y="8299"/>
                    <a:pt x="1917" y="10853"/>
                  </a:cubicBezTo>
                  <a:lnTo>
                    <a:pt x="12780" y="21706"/>
                  </a:lnTo>
                  <a:cubicBezTo>
                    <a:pt x="15336" y="24259"/>
                    <a:pt x="19170" y="24259"/>
                    <a:pt x="21726" y="21706"/>
                  </a:cubicBezTo>
                  <a:cubicBezTo>
                    <a:pt x="21726" y="21706"/>
                    <a:pt x="21726" y="21706"/>
                    <a:pt x="21726" y="21706"/>
                  </a:cubicBezTo>
                  <a:cubicBezTo>
                    <a:pt x="24282" y="19152"/>
                    <a:pt x="24282" y="15322"/>
                    <a:pt x="21726" y="12768"/>
                  </a:cubicBezTo>
                  <a:cubicBezTo>
                    <a:pt x="21726" y="12768"/>
                    <a:pt x="21726" y="12768"/>
                    <a:pt x="21726" y="12768"/>
                  </a:cubicBezTo>
                  <a:lnTo>
                    <a:pt x="10863"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28" name="Graphic 4">
              <a:extLst>
                <a:ext uri="{FF2B5EF4-FFF2-40B4-BE49-F238E27FC236}">
                  <a16:creationId xmlns:a16="http://schemas.microsoft.com/office/drawing/2014/main" id="{B9622133-545F-EA09-4060-CD968F27A417}"/>
                </a:ext>
              </a:extLst>
            </p:cNvPr>
            <p:cNvSpPr/>
            <p:nvPr/>
          </p:nvSpPr>
          <p:spPr>
            <a:xfrm>
              <a:off x="3711115" y="4003082"/>
              <a:ext cx="23163" cy="22819"/>
            </a:xfrm>
            <a:custGeom>
              <a:avLst/>
              <a:gdLst>
                <a:gd name="connsiteX0" fmla="*/ 10384 w 23163"/>
                <a:gd name="connsiteY0" fmla="*/ 1113 h 22819"/>
                <a:gd name="connsiteX1" fmla="*/ 1438 w 23163"/>
                <a:gd name="connsiteY1" fmla="*/ 2390 h 22819"/>
                <a:gd name="connsiteX2" fmla="*/ 1438 w 23163"/>
                <a:gd name="connsiteY2" fmla="*/ 10051 h 22819"/>
                <a:gd name="connsiteX3" fmla="*/ 12301 w 23163"/>
                <a:gd name="connsiteY3" fmla="*/ 20904 h 22819"/>
                <a:gd name="connsiteX4" fmla="*/ 16774 w 23163"/>
                <a:gd name="connsiteY4" fmla="*/ 22819 h 22819"/>
                <a:gd name="connsiteX5" fmla="*/ 21246 w 23163"/>
                <a:gd name="connsiteY5" fmla="*/ 20904 h 22819"/>
                <a:gd name="connsiteX6" fmla="*/ 21246 w 23163"/>
                <a:gd name="connsiteY6" fmla="*/ 11966 h 22819"/>
                <a:gd name="connsiteX7" fmla="*/ 21246 w 23163"/>
                <a:gd name="connsiteY7" fmla="*/ 11966 h 22819"/>
                <a:gd name="connsiteX8" fmla="*/ 10384 w 23163"/>
                <a:gd name="connsiteY8" fmla="*/ 1113 h 22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63" h="22819">
                  <a:moveTo>
                    <a:pt x="10384" y="1113"/>
                  </a:moveTo>
                  <a:cubicBezTo>
                    <a:pt x="7828" y="-802"/>
                    <a:pt x="3355" y="-163"/>
                    <a:pt x="1438" y="2390"/>
                  </a:cubicBezTo>
                  <a:cubicBezTo>
                    <a:pt x="-479" y="4944"/>
                    <a:pt x="-479" y="7497"/>
                    <a:pt x="1438" y="10051"/>
                  </a:cubicBezTo>
                  <a:lnTo>
                    <a:pt x="12301" y="20904"/>
                  </a:lnTo>
                  <a:cubicBezTo>
                    <a:pt x="13579" y="22181"/>
                    <a:pt x="14856" y="22819"/>
                    <a:pt x="16774" y="22819"/>
                  </a:cubicBezTo>
                  <a:cubicBezTo>
                    <a:pt x="18691" y="22819"/>
                    <a:pt x="19969" y="22181"/>
                    <a:pt x="21246" y="20904"/>
                  </a:cubicBezTo>
                  <a:cubicBezTo>
                    <a:pt x="23802" y="18350"/>
                    <a:pt x="23802" y="14520"/>
                    <a:pt x="21246" y="11966"/>
                  </a:cubicBezTo>
                  <a:cubicBezTo>
                    <a:pt x="21246" y="11966"/>
                    <a:pt x="21246" y="11966"/>
                    <a:pt x="21246" y="11966"/>
                  </a:cubicBezTo>
                  <a:lnTo>
                    <a:pt x="10384" y="1113"/>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29" name="Graphic 4">
              <a:extLst>
                <a:ext uri="{FF2B5EF4-FFF2-40B4-BE49-F238E27FC236}">
                  <a16:creationId xmlns:a16="http://schemas.microsoft.com/office/drawing/2014/main" id="{B5F56F1A-FD3D-A4D8-CDC9-07A296014EA3}"/>
                </a:ext>
              </a:extLst>
            </p:cNvPr>
            <p:cNvSpPr/>
            <p:nvPr/>
          </p:nvSpPr>
          <p:spPr>
            <a:xfrm>
              <a:off x="3710636" y="3973553"/>
              <a:ext cx="23642" cy="23620"/>
            </a:xfrm>
            <a:custGeom>
              <a:avLst/>
              <a:gdLst>
                <a:gd name="connsiteX0" fmla="*/ 6390 w 23642"/>
                <a:gd name="connsiteY0" fmla="*/ 23621 h 23620"/>
                <a:gd name="connsiteX1" fmla="*/ 10863 w 23642"/>
                <a:gd name="connsiteY1" fmla="*/ 21706 h 23620"/>
                <a:gd name="connsiteX2" fmla="*/ 21726 w 23642"/>
                <a:gd name="connsiteY2" fmla="*/ 10853 h 23620"/>
                <a:gd name="connsiteX3" fmla="*/ 21726 w 23642"/>
                <a:gd name="connsiteY3" fmla="*/ 1915 h 23620"/>
                <a:gd name="connsiteX4" fmla="*/ 12780 w 23642"/>
                <a:gd name="connsiteY4" fmla="*/ 1915 h 23620"/>
                <a:gd name="connsiteX5" fmla="*/ 12780 w 23642"/>
                <a:gd name="connsiteY5" fmla="*/ 1915 h 23620"/>
                <a:gd name="connsiteX6" fmla="*/ 1917 w 23642"/>
                <a:gd name="connsiteY6" fmla="*/ 12768 h 23620"/>
                <a:gd name="connsiteX7" fmla="*/ 1917 w 23642"/>
                <a:gd name="connsiteY7" fmla="*/ 21706 h 23620"/>
                <a:gd name="connsiteX8" fmla="*/ 1917 w 23642"/>
                <a:gd name="connsiteY8" fmla="*/ 21706 h 23620"/>
                <a:gd name="connsiteX9" fmla="*/ 6390 w 23642"/>
                <a:gd name="connsiteY9" fmla="*/ 23621 h 2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42" h="23620">
                  <a:moveTo>
                    <a:pt x="6390" y="23621"/>
                  </a:moveTo>
                  <a:cubicBezTo>
                    <a:pt x="8307" y="23621"/>
                    <a:pt x="9585" y="22982"/>
                    <a:pt x="10863" y="21706"/>
                  </a:cubicBezTo>
                  <a:lnTo>
                    <a:pt x="21726" y="10853"/>
                  </a:lnTo>
                  <a:cubicBezTo>
                    <a:pt x="24282" y="8299"/>
                    <a:pt x="24282" y="4469"/>
                    <a:pt x="21726" y="1915"/>
                  </a:cubicBezTo>
                  <a:cubicBezTo>
                    <a:pt x="19170" y="-638"/>
                    <a:pt x="15336" y="-638"/>
                    <a:pt x="12780" y="1915"/>
                  </a:cubicBezTo>
                  <a:cubicBezTo>
                    <a:pt x="12780" y="1915"/>
                    <a:pt x="12780" y="1915"/>
                    <a:pt x="12780" y="1915"/>
                  </a:cubicBezTo>
                  <a:lnTo>
                    <a:pt x="1917" y="12768"/>
                  </a:lnTo>
                  <a:cubicBezTo>
                    <a:pt x="-639" y="15322"/>
                    <a:pt x="-639" y="19152"/>
                    <a:pt x="1917" y="21706"/>
                  </a:cubicBezTo>
                  <a:cubicBezTo>
                    <a:pt x="1917" y="21706"/>
                    <a:pt x="1917" y="21706"/>
                    <a:pt x="1917" y="21706"/>
                  </a:cubicBezTo>
                  <a:cubicBezTo>
                    <a:pt x="3195" y="22982"/>
                    <a:pt x="4473" y="23621"/>
                    <a:pt x="6390" y="23621"/>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30" name="Graphic 4">
              <a:extLst>
                <a:ext uri="{FF2B5EF4-FFF2-40B4-BE49-F238E27FC236}">
                  <a16:creationId xmlns:a16="http://schemas.microsoft.com/office/drawing/2014/main" id="{B49E02E2-5B9C-CC64-0B1E-6FEE151CA52F}"/>
                </a:ext>
              </a:extLst>
            </p:cNvPr>
            <p:cNvSpPr/>
            <p:nvPr/>
          </p:nvSpPr>
          <p:spPr>
            <a:xfrm>
              <a:off x="3681881" y="4002281"/>
              <a:ext cx="23642" cy="23620"/>
            </a:xfrm>
            <a:custGeom>
              <a:avLst/>
              <a:gdLst>
                <a:gd name="connsiteX0" fmla="*/ 12780 w 23642"/>
                <a:gd name="connsiteY0" fmla="*/ 1915 h 23620"/>
                <a:gd name="connsiteX1" fmla="*/ 1917 w 23642"/>
                <a:gd name="connsiteY1" fmla="*/ 12768 h 23620"/>
                <a:gd name="connsiteX2" fmla="*/ 1917 w 23642"/>
                <a:gd name="connsiteY2" fmla="*/ 21706 h 23620"/>
                <a:gd name="connsiteX3" fmla="*/ 1917 w 23642"/>
                <a:gd name="connsiteY3" fmla="*/ 21706 h 23620"/>
                <a:gd name="connsiteX4" fmla="*/ 6390 w 23642"/>
                <a:gd name="connsiteY4" fmla="*/ 23621 h 23620"/>
                <a:gd name="connsiteX5" fmla="*/ 10863 w 23642"/>
                <a:gd name="connsiteY5" fmla="*/ 21706 h 23620"/>
                <a:gd name="connsiteX6" fmla="*/ 21726 w 23642"/>
                <a:gd name="connsiteY6" fmla="*/ 10853 h 23620"/>
                <a:gd name="connsiteX7" fmla="*/ 21726 w 23642"/>
                <a:gd name="connsiteY7" fmla="*/ 1915 h 23620"/>
                <a:gd name="connsiteX8" fmla="*/ 12780 w 23642"/>
                <a:gd name="connsiteY8" fmla="*/ 1915 h 23620"/>
                <a:gd name="connsiteX9" fmla="*/ 12780 w 23642"/>
                <a:gd name="connsiteY9" fmla="*/ 1915 h 23620"/>
                <a:gd name="connsiteX10" fmla="*/ 12780 w 23642"/>
                <a:gd name="connsiteY10" fmla="*/ 1915 h 2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42" h="23620">
                  <a:moveTo>
                    <a:pt x="12780" y="1915"/>
                  </a:moveTo>
                  <a:lnTo>
                    <a:pt x="1917" y="12768"/>
                  </a:lnTo>
                  <a:cubicBezTo>
                    <a:pt x="-639" y="15322"/>
                    <a:pt x="-639" y="19152"/>
                    <a:pt x="1917" y="21706"/>
                  </a:cubicBezTo>
                  <a:cubicBezTo>
                    <a:pt x="1917" y="21706"/>
                    <a:pt x="1917" y="21706"/>
                    <a:pt x="1917" y="21706"/>
                  </a:cubicBezTo>
                  <a:cubicBezTo>
                    <a:pt x="3195" y="22982"/>
                    <a:pt x="4473" y="23621"/>
                    <a:pt x="6390" y="23621"/>
                  </a:cubicBezTo>
                  <a:cubicBezTo>
                    <a:pt x="8307" y="23621"/>
                    <a:pt x="9585" y="22982"/>
                    <a:pt x="10863" y="21706"/>
                  </a:cubicBezTo>
                  <a:lnTo>
                    <a:pt x="21726" y="10853"/>
                  </a:lnTo>
                  <a:cubicBezTo>
                    <a:pt x="24282" y="8299"/>
                    <a:pt x="24282" y="4469"/>
                    <a:pt x="21726" y="1915"/>
                  </a:cubicBezTo>
                  <a:cubicBezTo>
                    <a:pt x="19170" y="-638"/>
                    <a:pt x="15336" y="-638"/>
                    <a:pt x="12780" y="1915"/>
                  </a:cubicBezTo>
                  <a:lnTo>
                    <a:pt x="12780" y="1915"/>
                  </a:lnTo>
                  <a:lnTo>
                    <a:pt x="12780"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131" name="Graphic 4">
              <a:extLst>
                <a:ext uri="{FF2B5EF4-FFF2-40B4-BE49-F238E27FC236}">
                  <a16:creationId xmlns:a16="http://schemas.microsoft.com/office/drawing/2014/main" id="{F3FCE410-B353-DEEA-C4B1-1AC9E79723C6}"/>
                </a:ext>
              </a:extLst>
            </p:cNvPr>
            <p:cNvSpPr/>
            <p:nvPr/>
          </p:nvSpPr>
          <p:spPr>
            <a:xfrm>
              <a:off x="3819265" y="4068035"/>
              <a:ext cx="44729" cy="44687"/>
            </a:xfrm>
            <a:custGeom>
              <a:avLst/>
              <a:gdLst>
                <a:gd name="connsiteX0" fmla="*/ 38340 w 44729"/>
                <a:gd name="connsiteY0" fmla="*/ 15960 h 44687"/>
                <a:gd name="connsiteX1" fmla="*/ 28755 w 44729"/>
                <a:gd name="connsiteY1" fmla="*/ 15960 h 44687"/>
                <a:gd name="connsiteX2" fmla="*/ 28755 w 44729"/>
                <a:gd name="connsiteY2" fmla="*/ 6384 h 44687"/>
                <a:gd name="connsiteX3" fmla="*/ 22365 w 44729"/>
                <a:gd name="connsiteY3" fmla="*/ 0 h 44687"/>
                <a:gd name="connsiteX4" fmla="*/ 15975 w 44729"/>
                <a:gd name="connsiteY4" fmla="*/ 6384 h 44687"/>
                <a:gd name="connsiteX5" fmla="*/ 15975 w 44729"/>
                <a:gd name="connsiteY5" fmla="*/ 15960 h 44687"/>
                <a:gd name="connsiteX6" fmla="*/ 6390 w 44729"/>
                <a:gd name="connsiteY6" fmla="*/ 15960 h 44687"/>
                <a:gd name="connsiteX7" fmla="*/ 0 w 44729"/>
                <a:gd name="connsiteY7" fmla="*/ 22344 h 44687"/>
                <a:gd name="connsiteX8" fmla="*/ 6390 w 44729"/>
                <a:gd name="connsiteY8" fmla="*/ 28728 h 44687"/>
                <a:gd name="connsiteX9" fmla="*/ 15975 w 44729"/>
                <a:gd name="connsiteY9" fmla="*/ 28728 h 44687"/>
                <a:gd name="connsiteX10" fmla="*/ 15975 w 44729"/>
                <a:gd name="connsiteY10" fmla="*/ 38304 h 44687"/>
                <a:gd name="connsiteX11" fmla="*/ 22365 w 44729"/>
                <a:gd name="connsiteY11" fmla="*/ 44688 h 44687"/>
                <a:gd name="connsiteX12" fmla="*/ 28755 w 44729"/>
                <a:gd name="connsiteY12" fmla="*/ 38304 h 44687"/>
                <a:gd name="connsiteX13" fmla="*/ 28755 w 44729"/>
                <a:gd name="connsiteY13" fmla="*/ 28728 h 44687"/>
                <a:gd name="connsiteX14" fmla="*/ 38340 w 44729"/>
                <a:gd name="connsiteY14" fmla="*/ 28728 h 44687"/>
                <a:gd name="connsiteX15" fmla="*/ 44730 w 44729"/>
                <a:gd name="connsiteY15" fmla="*/ 22344 h 44687"/>
                <a:gd name="connsiteX16" fmla="*/ 38340 w 44729"/>
                <a:gd name="connsiteY16" fmla="*/ 1596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29" h="44687">
                  <a:moveTo>
                    <a:pt x="38340" y="15960"/>
                  </a:moveTo>
                  <a:lnTo>
                    <a:pt x="28755" y="15960"/>
                  </a:lnTo>
                  <a:lnTo>
                    <a:pt x="28755" y="6384"/>
                  </a:lnTo>
                  <a:cubicBezTo>
                    <a:pt x="28755" y="2554"/>
                    <a:pt x="26199" y="0"/>
                    <a:pt x="22365" y="0"/>
                  </a:cubicBezTo>
                  <a:cubicBezTo>
                    <a:pt x="18531" y="0"/>
                    <a:pt x="15975" y="2554"/>
                    <a:pt x="15975" y="6384"/>
                  </a:cubicBezTo>
                  <a:lnTo>
                    <a:pt x="15975" y="15960"/>
                  </a:lnTo>
                  <a:lnTo>
                    <a:pt x="6390" y="15960"/>
                  </a:lnTo>
                  <a:cubicBezTo>
                    <a:pt x="2556" y="15960"/>
                    <a:pt x="0" y="18514"/>
                    <a:pt x="0" y="22344"/>
                  </a:cubicBezTo>
                  <a:cubicBezTo>
                    <a:pt x="0" y="26175"/>
                    <a:pt x="2556" y="28728"/>
                    <a:pt x="6390" y="28728"/>
                  </a:cubicBezTo>
                  <a:lnTo>
                    <a:pt x="15975" y="28728"/>
                  </a:lnTo>
                  <a:lnTo>
                    <a:pt x="15975" y="38304"/>
                  </a:lnTo>
                  <a:cubicBezTo>
                    <a:pt x="15975" y="42135"/>
                    <a:pt x="18531" y="44688"/>
                    <a:pt x="22365" y="44688"/>
                  </a:cubicBezTo>
                  <a:cubicBezTo>
                    <a:pt x="26199" y="44688"/>
                    <a:pt x="28755" y="42135"/>
                    <a:pt x="28755" y="38304"/>
                  </a:cubicBezTo>
                  <a:lnTo>
                    <a:pt x="28755" y="28728"/>
                  </a:lnTo>
                  <a:lnTo>
                    <a:pt x="38340" y="28728"/>
                  </a:lnTo>
                  <a:cubicBezTo>
                    <a:pt x="42173" y="28728"/>
                    <a:pt x="44730" y="26175"/>
                    <a:pt x="44730" y="22344"/>
                  </a:cubicBezTo>
                  <a:cubicBezTo>
                    <a:pt x="44730" y="18514"/>
                    <a:pt x="41535" y="15960"/>
                    <a:pt x="38340" y="15960"/>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sp>
        <p:nvSpPr>
          <p:cNvPr id="2" name="Rectangle 1">
            <a:extLst>
              <a:ext uri="{FF2B5EF4-FFF2-40B4-BE49-F238E27FC236}">
                <a16:creationId xmlns:a16="http://schemas.microsoft.com/office/drawing/2014/main" id="{A148D47E-0279-AD43-4EC1-CC430D5197C2}"/>
              </a:ext>
            </a:extLst>
          </p:cNvPr>
          <p:cNvSpPr/>
          <p:nvPr/>
        </p:nvSpPr>
        <p:spPr>
          <a:xfrm>
            <a:off x="430550" y="5191509"/>
            <a:ext cx="11387135" cy="1100300"/>
          </a:xfrm>
          <a:prstGeom prst="rect">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9" name="TextBox 8">
            <a:extLst>
              <a:ext uri="{FF2B5EF4-FFF2-40B4-BE49-F238E27FC236}">
                <a16:creationId xmlns:a16="http://schemas.microsoft.com/office/drawing/2014/main" id="{E69AF923-065E-C3CC-DD11-E77912D10C06}"/>
              </a:ext>
            </a:extLst>
          </p:cNvPr>
          <p:cNvSpPr txBox="1"/>
          <p:nvPr/>
        </p:nvSpPr>
        <p:spPr>
          <a:xfrm>
            <a:off x="4813262" y="5065131"/>
            <a:ext cx="2207578" cy="266492"/>
          </a:xfrm>
          <a:prstGeom prst="rect">
            <a:avLst/>
          </a:prstGeom>
          <a:solidFill>
            <a:srgbClr val="007680"/>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defPPr>
              <a:defRPr lang="en-US"/>
            </a:defPPr>
            <a:lvl1pPr algn="ctr">
              <a:defRPr sz="1400">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600" dirty="0"/>
              <a:t>Drivers </a:t>
            </a:r>
          </a:p>
        </p:txBody>
      </p:sp>
      <p:grpSp>
        <p:nvGrpSpPr>
          <p:cNvPr id="45" name="Graphic 4">
            <a:extLst>
              <a:ext uri="{FF2B5EF4-FFF2-40B4-BE49-F238E27FC236}">
                <a16:creationId xmlns:a16="http://schemas.microsoft.com/office/drawing/2014/main" id="{EF8DC38C-EE58-CE76-21AA-2D713C0DE59A}"/>
              </a:ext>
            </a:extLst>
          </p:cNvPr>
          <p:cNvGrpSpPr/>
          <p:nvPr/>
        </p:nvGrpSpPr>
        <p:grpSpPr>
          <a:xfrm>
            <a:off x="538435" y="5587181"/>
            <a:ext cx="296345" cy="282602"/>
            <a:chOff x="467743" y="4793256"/>
            <a:chExt cx="361670" cy="361971"/>
          </a:xfrm>
          <a:solidFill>
            <a:srgbClr val="007680"/>
          </a:solidFill>
        </p:grpSpPr>
        <p:sp>
          <p:nvSpPr>
            <p:cNvPr id="46" name="Graphic 4">
              <a:extLst>
                <a:ext uri="{FF2B5EF4-FFF2-40B4-BE49-F238E27FC236}">
                  <a16:creationId xmlns:a16="http://schemas.microsoft.com/office/drawing/2014/main" id="{C84A75EC-8AF0-E148-F9AE-509CD7BB9D86}"/>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47" name="Graphic 4">
              <a:extLst>
                <a:ext uri="{FF2B5EF4-FFF2-40B4-BE49-F238E27FC236}">
                  <a16:creationId xmlns:a16="http://schemas.microsoft.com/office/drawing/2014/main" id="{CBEC4954-5048-D5E7-8257-F18D513FE466}"/>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48" name="Graphic 4">
            <a:extLst>
              <a:ext uri="{FF2B5EF4-FFF2-40B4-BE49-F238E27FC236}">
                <a16:creationId xmlns:a16="http://schemas.microsoft.com/office/drawing/2014/main" id="{571294D4-FB2D-960E-067C-720F5C02EA98}"/>
              </a:ext>
            </a:extLst>
          </p:cNvPr>
          <p:cNvGrpSpPr/>
          <p:nvPr/>
        </p:nvGrpSpPr>
        <p:grpSpPr>
          <a:xfrm>
            <a:off x="3346552" y="5587181"/>
            <a:ext cx="296345" cy="282602"/>
            <a:chOff x="467743" y="4793256"/>
            <a:chExt cx="361670" cy="361971"/>
          </a:xfrm>
          <a:solidFill>
            <a:srgbClr val="007680"/>
          </a:solidFill>
        </p:grpSpPr>
        <p:sp>
          <p:nvSpPr>
            <p:cNvPr id="49" name="Graphic 4">
              <a:extLst>
                <a:ext uri="{FF2B5EF4-FFF2-40B4-BE49-F238E27FC236}">
                  <a16:creationId xmlns:a16="http://schemas.microsoft.com/office/drawing/2014/main" id="{E2D83C62-3B0D-CE2B-E258-60B697F3BA5B}"/>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0" name="Graphic 4">
              <a:extLst>
                <a:ext uri="{FF2B5EF4-FFF2-40B4-BE49-F238E27FC236}">
                  <a16:creationId xmlns:a16="http://schemas.microsoft.com/office/drawing/2014/main" id="{692C0BBE-63B1-37EE-01D1-99584D3F2D22}"/>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51" name="Graphic 4">
            <a:extLst>
              <a:ext uri="{FF2B5EF4-FFF2-40B4-BE49-F238E27FC236}">
                <a16:creationId xmlns:a16="http://schemas.microsoft.com/office/drawing/2014/main" id="{BA8F5A38-D87F-1941-9950-D0DA8EED7690}"/>
              </a:ext>
            </a:extLst>
          </p:cNvPr>
          <p:cNvGrpSpPr/>
          <p:nvPr/>
        </p:nvGrpSpPr>
        <p:grpSpPr>
          <a:xfrm>
            <a:off x="6600547" y="5587181"/>
            <a:ext cx="296345" cy="282602"/>
            <a:chOff x="467743" y="4793256"/>
            <a:chExt cx="361670" cy="361971"/>
          </a:xfrm>
          <a:solidFill>
            <a:srgbClr val="007680"/>
          </a:solidFill>
        </p:grpSpPr>
        <p:sp>
          <p:nvSpPr>
            <p:cNvPr id="52" name="Graphic 4">
              <a:extLst>
                <a:ext uri="{FF2B5EF4-FFF2-40B4-BE49-F238E27FC236}">
                  <a16:creationId xmlns:a16="http://schemas.microsoft.com/office/drawing/2014/main" id="{A6DCDB94-BED6-19B4-7E51-EB7C240F5738}"/>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3" name="Graphic 4">
              <a:extLst>
                <a:ext uri="{FF2B5EF4-FFF2-40B4-BE49-F238E27FC236}">
                  <a16:creationId xmlns:a16="http://schemas.microsoft.com/office/drawing/2014/main" id="{DBF88629-D275-6763-F021-DFD377697A1C}"/>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grpSp>
        <p:nvGrpSpPr>
          <p:cNvPr id="54" name="Graphic 4">
            <a:extLst>
              <a:ext uri="{FF2B5EF4-FFF2-40B4-BE49-F238E27FC236}">
                <a16:creationId xmlns:a16="http://schemas.microsoft.com/office/drawing/2014/main" id="{63EF5BF1-7973-9F4C-9836-B09DB82C4363}"/>
              </a:ext>
            </a:extLst>
          </p:cNvPr>
          <p:cNvGrpSpPr/>
          <p:nvPr/>
        </p:nvGrpSpPr>
        <p:grpSpPr>
          <a:xfrm>
            <a:off x="9190884" y="5587181"/>
            <a:ext cx="296345" cy="282602"/>
            <a:chOff x="467743" y="4793256"/>
            <a:chExt cx="361670" cy="361971"/>
          </a:xfrm>
          <a:solidFill>
            <a:srgbClr val="007680"/>
          </a:solidFill>
        </p:grpSpPr>
        <p:sp>
          <p:nvSpPr>
            <p:cNvPr id="81" name="Graphic 4">
              <a:extLst>
                <a:ext uri="{FF2B5EF4-FFF2-40B4-BE49-F238E27FC236}">
                  <a16:creationId xmlns:a16="http://schemas.microsoft.com/office/drawing/2014/main" id="{3978C93B-CBB8-770B-149B-9AE13B224CBB}"/>
                </a:ext>
              </a:extLst>
            </p:cNvPr>
            <p:cNvSpPr/>
            <p:nvPr/>
          </p:nvSpPr>
          <p:spPr>
            <a:xfrm>
              <a:off x="467743" y="4793256"/>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0667 h 361971"/>
                <a:gd name="connsiteX4" fmla="*/ 361670 w 361670"/>
                <a:gd name="connsiteY4" fmla="*/ 180667 h 361971"/>
                <a:gd name="connsiteX5" fmla="*/ 180835 w 361670"/>
                <a:gd name="connsiteY5" fmla="*/ 0 h 361971"/>
                <a:gd name="connsiteX6" fmla="*/ 180835 w 361670"/>
                <a:gd name="connsiteY6" fmla="*/ 0 h 361971"/>
                <a:gd name="connsiteX7" fmla="*/ 180835 w 361670"/>
                <a:gd name="connsiteY7" fmla="*/ 348565 h 361971"/>
                <a:gd name="connsiteX8" fmla="*/ 12780 w 361670"/>
                <a:gd name="connsiteY8" fmla="*/ 180667 h 361971"/>
                <a:gd name="connsiteX9" fmla="*/ 180835 w 361670"/>
                <a:gd name="connsiteY9" fmla="*/ 12129 h 361971"/>
                <a:gd name="connsiteX10" fmla="*/ 348891 w 361670"/>
                <a:gd name="connsiteY10" fmla="*/ 180667 h 361971"/>
                <a:gd name="connsiteX11" fmla="*/ 348891 w 361670"/>
                <a:gd name="connsiteY11" fmla="*/ 180667 h 361971"/>
                <a:gd name="connsiteX12" fmla="*/ 180835 w 361670"/>
                <a:gd name="connsiteY12"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670" h="361971">
                  <a:moveTo>
                    <a:pt x="180835" y="0"/>
                  </a:moveTo>
                  <a:cubicBezTo>
                    <a:pt x="80513" y="0"/>
                    <a:pt x="0" y="81077"/>
                    <a:pt x="0" y="180667"/>
                  </a:cubicBezTo>
                  <a:cubicBezTo>
                    <a:pt x="0" y="280895"/>
                    <a:pt x="81152" y="361972"/>
                    <a:pt x="180835" y="361972"/>
                  </a:cubicBezTo>
                  <a:cubicBezTo>
                    <a:pt x="280518" y="361972"/>
                    <a:pt x="361670" y="280895"/>
                    <a:pt x="361670" y="180667"/>
                  </a:cubicBezTo>
                  <a:cubicBezTo>
                    <a:pt x="361670" y="180667"/>
                    <a:pt x="361670" y="180667"/>
                    <a:pt x="361670" y="180667"/>
                  </a:cubicBezTo>
                  <a:cubicBezTo>
                    <a:pt x="361670" y="80438"/>
                    <a:pt x="281157" y="0"/>
                    <a:pt x="180835" y="0"/>
                  </a:cubicBezTo>
                  <a:cubicBezTo>
                    <a:pt x="180835" y="0"/>
                    <a:pt x="180835" y="0"/>
                    <a:pt x="180835" y="0"/>
                  </a:cubicBezTo>
                  <a:close/>
                  <a:moveTo>
                    <a:pt x="180835" y="348565"/>
                  </a:moveTo>
                  <a:cubicBezTo>
                    <a:pt x="87542" y="348565"/>
                    <a:pt x="12780" y="273234"/>
                    <a:pt x="12780" y="180667"/>
                  </a:cubicBezTo>
                  <a:cubicBezTo>
                    <a:pt x="12780" y="87461"/>
                    <a:pt x="88181" y="12129"/>
                    <a:pt x="180835" y="12129"/>
                  </a:cubicBezTo>
                  <a:cubicBezTo>
                    <a:pt x="273489" y="12129"/>
                    <a:pt x="348891" y="87461"/>
                    <a:pt x="348891" y="180667"/>
                  </a:cubicBezTo>
                  <a:lnTo>
                    <a:pt x="348891" y="180667"/>
                  </a:lnTo>
                  <a:cubicBezTo>
                    <a:pt x="348891" y="273234"/>
                    <a:pt x="273489" y="348565"/>
                    <a:pt x="180835" y="348565"/>
                  </a:cubicBez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82" name="Graphic 4">
              <a:extLst>
                <a:ext uri="{FF2B5EF4-FFF2-40B4-BE49-F238E27FC236}">
                  <a16:creationId xmlns:a16="http://schemas.microsoft.com/office/drawing/2014/main" id="{C369015D-8279-4406-0974-F0875D566234}"/>
                </a:ext>
              </a:extLst>
            </p:cNvPr>
            <p:cNvSpPr/>
            <p:nvPr/>
          </p:nvSpPr>
          <p:spPr>
            <a:xfrm>
              <a:off x="540878" y="4892208"/>
              <a:ext cx="215051" cy="164068"/>
            </a:xfrm>
            <a:custGeom>
              <a:avLst/>
              <a:gdLst>
                <a:gd name="connsiteX0" fmla="*/ 203549 w 215051"/>
                <a:gd name="connsiteY0" fmla="*/ 1915 h 164068"/>
                <a:gd name="connsiteX1" fmla="*/ 62971 w 215051"/>
                <a:gd name="connsiteY1" fmla="*/ 148109 h 164068"/>
                <a:gd name="connsiteX2" fmla="*/ 11212 w 215051"/>
                <a:gd name="connsiteY2" fmla="*/ 95760 h 164068"/>
                <a:gd name="connsiteX3" fmla="*/ 2266 w 215051"/>
                <a:gd name="connsiteY3" fmla="*/ 95121 h 164068"/>
                <a:gd name="connsiteX4" fmla="*/ 1627 w 215051"/>
                <a:gd name="connsiteY4" fmla="*/ 104059 h 164068"/>
                <a:gd name="connsiteX5" fmla="*/ 2266 w 215051"/>
                <a:gd name="connsiteY5" fmla="*/ 104697 h 164068"/>
                <a:gd name="connsiteX6" fmla="*/ 58498 w 215051"/>
                <a:gd name="connsiteY6" fmla="*/ 162153 h 164068"/>
                <a:gd name="connsiteX7" fmla="*/ 62971 w 215051"/>
                <a:gd name="connsiteY7" fmla="*/ 164069 h 164068"/>
                <a:gd name="connsiteX8" fmla="*/ 62971 w 215051"/>
                <a:gd name="connsiteY8" fmla="*/ 164069 h 164068"/>
                <a:gd name="connsiteX9" fmla="*/ 67443 w 215051"/>
                <a:gd name="connsiteY9" fmla="*/ 162153 h 164068"/>
                <a:gd name="connsiteX10" fmla="*/ 213134 w 215051"/>
                <a:gd name="connsiteY10" fmla="*/ 10853 h 164068"/>
                <a:gd name="connsiteX11" fmla="*/ 213134 w 215051"/>
                <a:gd name="connsiteY11" fmla="*/ 1915 h 164068"/>
                <a:gd name="connsiteX12" fmla="*/ 203549 w 215051"/>
                <a:gd name="connsiteY12" fmla="*/ 1915 h 164068"/>
                <a:gd name="connsiteX13" fmla="*/ 203549 w 215051"/>
                <a:gd name="connsiteY13" fmla="*/ 1915 h 16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5051" h="164068">
                  <a:moveTo>
                    <a:pt x="203549" y="1915"/>
                  </a:moveTo>
                  <a:lnTo>
                    <a:pt x="62971" y="148109"/>
                  </a:lnTo>
                  <a:lnTo>
                    <a:pt x="11212" y="95760"/>
                  </a:lnTo>
                  <a:cubicBezTo>
                    <a:pt x="8656" y="93206"/>
                    <a:pt x="4822" y="92568"/>
                    <a:pt x="2266" y="95121"/>
                  </a:cubicBezTo>
                  <a:cubicBezTo>
                    <a:pt x="-290" y="97675"/>
                    <a:pt x="-929" y="101505"/>
                    <a:pt x="1627" y="104059"/>
                  </a:cubicBezTo>
                  <a:cubicBezTo>
                    <a:pt x="1627" y="104059"/>
                    <a:pt x="2266" y="104697"/>
                    <a:pt x="2266" y="104697"/>
                  </a:cubicBezTo>
                  <a:lnTo>
                    <a:pt x="58498" y="162153"/>
                  </a:lnTo>
                  <a:cubicBezTo>
                    <a:pt x="59776" y="163430"/>
                    <a:pt x="61054" y="164069"/>
                    <a:pt x="62971" y="164069"/>
                  </a:cubicBezTo>
                  <a:lnTo>
                    <a:pt x="62971" y="164069"/>
                  </a:lnTo>
                  <a:cubicBezTo>
                    <a:pt x="64888" y="164069"/>
                    <a:pt x="66166" y="163430"/>
                    <a:pt x="67443" y="162153"/>
                  </a:cubicBezTo>
                  <a:lnTo>
                    <a:pt x="213134" y="10853"/>
                  </a:lnTo>
                  <a:cubicBezTo>
                    <a:pt x="215690" y="8299"/>
                    <a:pt x="215690" y="4469"/>
                    <a:pt x="213134" y="1915"/>
                  </a:cubicBezTo>
                  <a:cubicBezTo>
                    <a:pt x="210578" y="-638"/>
                    <a:pt x="206105" y="-638"/>
                    <a:pt x="203549" y="1915"/>
                  </a:cubicBezTo>
                  <a:lnTo>
                    <a:pt x="203549" y="1915"/>
                  </a:lnTo>
                  <a:close/>
                </a:path>
              </a:pathLst>
            </a:custGeom>
            <a:grpFill/>
            <a:ln w="639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13568168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P spid="17" grpId="0"/>
      <p:bldP spid="39" grpId="0"/>
      <p:bldP spid="2" grpId="0" animBg="1"/>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505F85-3D42-0670-6F18-AA1B31AFA62D}"/>
              </a:ext>
            </a:extLst>
          </p:cNvPr>
          <p:cNvSpPr txBox="1"/>
          <p:nvPr/>
        </p:nvSpPr>
        <p:spPr>
          <a:xfrm>
            <a:off x="430550" y="323577"/>
            <a:ext cx="7248633" cy="461665"/>
          </a:xfrm>
          <a:prstGeom prst="rect">
            <a:avLst/>
          </a:prstGeom>
          <a:noFill/>
        </p:spPr>
        <p:txBody>
          <a:bodyPr wrap="square" rtlCol="0">
            <a:spAutoFit/>
          </a:bodyPr>
          <a:lstStyle/>
          <a:p>
            <a:r>
              <a:rPr lang="en-NZ" sz="2400" dirty="0">
                <a:solidFill>
                  <a:schemeClr val="bg1"/>
                </a:solidFill>
              </a:rPr>
              <a:t>Problem Validation</a:t>
            </a:r>
          </a:p>
        </p:txBody>
      </p:sp>
      <p:sp>
        <p:nvSpPr>
          <p:cNvPr id="2" name="Rectangle 1">
            <a:extLst>
              <a:ext uri="{FF2B5EF4-FFF2-40B4-BE49-F238E27FC236}">
                <a16:creationId xmlns:a16="http://schemas.microsoft.com/office/drawing/2014/main" id="{8781FB4E-77F5-8636-71FC-2943EEDF7969}"/>
              </a:ext>
            </a:extLst>
          </p:cNvPr>
          <p:cNvSpPr/>
          <p:nvPr/>
        </p:nvSpPr>
        <p:spPr>
          <a:xfrm>
            <a:off x="430549" y="760958"/>
            <a:ext cx="8955821" cy="328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r>
              <a:rPr lang="en-NZ" dirty="0">
                <a:solidFill>
                  <a:schemeClr val="bg1">
                    <a:lumMod val="85000"/>
                  </a:schemeClr>
                </a:solidFill>
              </a:rPr>
              <a:t>Ensure the problem is well understood and validated before launching remediation exercise</a:t>
            </a:r>
          </a:p>
        </p:txBody>
      </p:sp>
      <p:grpSp>
        <p:nvGrpSpPr>
          <p:cNvPr id="7" name="Group 6">
            <a:extLst>
              <a:ext uri="{FF2B5EF4-FFF2-40B4-BE49-F238E27FC236}">
                <a16:creationId xmlns:a16="http://schemas.microsoft.com/office/drawing/2014/main" id="{0132E151-28B2-5398-F466-B2887E8B2687}"/>
              </a:ext>
            </a:extLst>
          </p:cNvPr>
          <p:cNvGrpSpPr/>
          <p:nvPr/>
        </p:nvGrpSpPr>
        <p:grpSpPr>
          <a:xfrm>
            <a:off x="1732725" y="2142380"/>
            <a:ext cx="8480221" cy="2914756"/>
            <a:chOff x="2038850" y="2239668"/>
            <a:chExt cx="7567982" cy="2615387"/>
          </a:xfrm>
        </p:grpSpPr>
        <p:grpSp>
          <p:nvGrpSpPr>
            <p:cNvPr id="8" name="组合 11">
              <a:extLst>
                <a:ext uri="{FF2B5EF4-FFF2-40B4-BE49-F238E27FC236}">
                  <a16:creationId xmlns:a16="http://schemas.microsoft.com/office/drawing/2014/main" id="{7C17EF9F-80A7-3BAB-7D27-923EA5A7E145}"/>
                </a:ext>
              </a:extLst>
            </p:cNvPr>
            <p:cNvGrpSpPr/>
            <p:nvPr/>
          </p:nvGrpSpPr>
          <p:grpSpPr>
            <a:xfrm>
              <a:off x="2038850" y="2239668"/>
              <a:ext cx="7567982" cy="2615387"/>
              <a:chOff x="614026" y="2538029"/>
              <a:chExt cx="4743788" cy="1684591"/>
            </a:xfrm>
          </p:grpSpPr>
          <p:sp>
            <p:nvSpPr>
              <p:cNvPr id="18" name="梯形 46">
                <a:extLst>
                  <a:ext uri="{FF2B5EF4-FFF2-40B4-BE49-F238E27FC236}">
                    <a16:creationId xmlns:a16="http://schemas.microsoft.com/office/drawing/2014/main" id="{DA06806A-F620-8116-474A-58FCE1369F9A}"/>
                  </a:ext>
                </a:extLst>
              </p:cNvPr>
              <p:cNvSpPr/>
              <p:nvPr/>
            </p:nvSpPr>
            <p:spPr bwMode="gray">
              <a:xfrm flipV="1">
                <a:off x="2939640" y="3961061"/>
                <a:ext cx="92557" cy="215281"/>
              </a:xfrm>
              <a:prstGeom prst="trapezoid">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 name="梯形 38">
                <a:extLst>
                  <a:ext uri="{FF2B5EF4-FFF2-40B4-BE49-F238E27FC236}">
                    <a16:creationId xmlns:a16="http://schemas.microsoft.com/office/drawing/2014/main" id="{7D39100D-DDDC-22E0-6D12-D3E145C5F88E}"/>
                  </a:ext>
                </a:extLst>
              </p:cNvPr>
              <p:cNvSpPr/>
              <p:nvPr/>
            </p:nvSpPr>
            <p:spPr bwMode="gray">
              <a:xfrm>
                <a:off x="4520903" y="2584307"/>
                <a:ext cx="92557" cy="215281"/>
              </a:xfrm>
              <a:prstGeom prst="trapezoid">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0" name="椭圆 19">
                <a:extLst>
                  <a:ext uri="{FF2B5EF4-FFF2-40B4-BE49-F238E27FC236}">
                    <a16:creationId xmlns:a16="http://schemas.microsoft.com/office/drawing/2014/main" id="{F05BE289-53D7-671A-8F25-CA0E820C5CAC}"/>
                  </a:ext>
                </a:extLst>
              </p:cNvPr>
              <p:cNvSpPr/>
              <p:nvPr/>
            </p:nvSpPr>
            <p:spPr bwMode="gray">
              <a:xfrm>
                <a:off x="826827" y="2796124"/>
                <a:ext cx="1154545" cy="1154545"/>
              </a:xfrm>
              <a:prstGeom prst="ellipse">
                <a:avLst/>
              </a:prstGeom>
              <a:noFill/>
              <a:ln w="571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椭圆 40">
                <a:extLst>
                  <a:ext uri="{FF2B5EF4-FFF2-40B4-BE49-F238E27FC236}">
                    <a16:creationId xmlns:a16="http://schemas.microsoft.com/office/drawing/2014/main" id="{7FE06E98-9760-59EA-E751-9EF51E5F756E}"/>
                  </a:ext>
                </a:extLst>
              </p:cNvPr>
              <p:cNvSpPr/>
              <p:nvPr/>
            </p:nvSpPr>
            <p:spPr bwMode="gray">
              <a:xfrm>
                <a:off x="614026" y="2582765"/>
                <a:ext cx="1581264" cy="1581264"/>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790632 w 1581264"/>
                  <a:gd name="connsiteY0" fmla="*/ 1581264 h 1672704"/>
                  <a:gd name="connsiteX1" fmla="*/ 0 w 1581264"/>
                  <a:gd name="connsiteY1" fmla="*/ 790632 h 1672704"/>
                  <a:gd name="connsiteX2" fmla="*/ 790632 w 1581264"/>
                  <a:gd name="connsiteY2" fmla="*/ 0 h 1672704"/>
                  <a:gd name="connsiteX3" fmla="*/ 1581264 w 1581264"/>
                  <a:gd name="connsiteY3" fmla="*/ 790632 h 1672704"/>
                  <a:gd name="connsiteX4" fmla="*/ 882072 w 1581264"/>
                  <a:gd name="connsiteY4" fmla="*/ 1672704 h 1672704"/>
                  <a:gd name="connsiteX0" fmla="*/ 790632 w 1581264"/>
                  <a:gd name="connsiteY0" fmla="*/ 1581264 h 1581264"/>
                  <a:gd name="connsiteX1" fmla="*/ 0 w 1581264"/>
                  <a:gd name="connsiteY1" fmla="*/ 790632 h 1581264"/>
                  <a:gd name="connsiteX2" fmla="*/ 790632 w 1581264"/>
                  <a:gd name="connsiteY2" fmla="*/ 0 h 1581264"/>
                  <a:gd name="connsiteX3" fmla="*/ 1581264 w 1581264"/>
                  <a:gd name="connsiteY3" fmla="*/ 790632 h 1581264"/>
                </a:gdLst>
                <a:ahLst/>
                <a:cxnLst>
                  <a:cxn ang="0">
                    <a:pos x="connsiteX0" y="connsiteY0"/>
                  </a:cxn>
                  <a:cxn ang="0">
                    <a:pos x="connsiteX1" y="connsiteY1"/>
                  </a:cxn>
                  <a:cxn ang="0">
                    <a:pos x="connsiteX2" y="connsiteY2"/>
                  </a:cxn>
                  <a:cxn ang="0">
                    <a:pos x="connsiteX3" y="connsiteY3"/>
                  </a:cxn>
                </a:cxnLst>
                <a:rect l="l" t="t" r="r" b="b"/>
                <a:pathLst>
                  <a:path w="1581264" h="1581264">
                    <a:moveTo>
                      <a:pt x="790632" y="1581264"/>
                    </a:moveTo>
                    <a:cubicBezTo>
                      <a:pt x="353978" y="1581264"/>
                      <a:pt x="0" y="1227286"/>
                      <a:pt x="0" y="790632"/>
                    </a:cubicBezTo>
                    <a:cubicBezTo>
                      <a:pt x="0" y="353978"/>
                      <a:pt x="353978" y="0"/>
                      <a:pt x="790632" y="0"/>
                    </a:cubicBezTo>
                    <a:cubicBezTo>
                      <a:pt x="1227286" y="0"/>
                      <a:pt x="1581264" y="353978"/>
                      <a:pt x="1581264" y="790632"/>
                    </a:cubicBezTo>
                  </a:path>
                </a:pathLst>
              </a:custGeom>
              <a:noFill/>
              <a:ln w="28575" cap="rnd" algn="ctr">
                <a:solidFill>
                  <a:srgbClr val="005587"/>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椭圆 21">
                <a:extLst>
                  <a:ext uri="{FF2B5EF4-FFF2-40B4-BE49-F238E27FC236}">
                    <a16:creationId xmlns:a16="http://schemas.microsoft.com/office/drawing/2014/main" id="{431D2444-D043-96DB-8CE5-D423ED6E0B90}"/>
                  </a:ext>
                </a:extLst>
              </p:cNvPr>
              <p:cNvSpPr/>
              <p:nvPr/>
            </p:nvSpPr>
            <p:spPr bwMode="gray">
              <a:xfrm>
                <a:off x="2408284" y="2796124"/>
                <a:ext cx="1154545" cy="1154545"/>
              </a:xfrm>
              <a:prstGeom prst="ellipse">
                <a:avLst/>
              </a:prstGeom>
              <a:noFill/>
              <a:ln w="57150" algn="ctr">
                <a:solidFill>
                  <a:srgbClr val="00768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3" name="椭圆 60">
                <a:extLst>
                  <a:ext uri="{FF2B5EF4-FFF2-40B4-BE49-F238E27FC236}">
                    <a16:creationId xmlns:a16="http://schemas.microsoft.com/office/drawing/2014/main" id="{D79AA30E-4AA8-BCD4-6FEA-E75649CD8525}"/>
                  </a:ext>
                </a:extLst>
              </p:cNvPr>
              <p:cNvSpPr/>
              <p:nvPr/>
            </p:nvSpPr>
            <p:spPr bwMode="gray">
              <a:xfrm flipV="1">
                <a:off x="2195288" y="3373397"/>
                <a:ext cx="1581264" cy="790632"/>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91440 w 1581264"/>
                  <a:gd name="connsiteY4" fmla="*/ 88207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0" fmla="*/ 0 w 1581264"/>
                  <a:gd name="connsiteY0" fmla="*/ 790632 h 790632"/>
                  <a:gd name="connsiteX1" fmla="*/ 790632 w 1581264"/>
                  <a:gd name="connsiteY1" fmla="*/ 0 h 790632"/>
                  <a:gd name="connsiteX2" fmla="*/ 1581264 w 1581264"/>
                  <a:gd name="connsiteY2" fmla="*/ 790632 h 790632"/>
                </a:gdLst>
                <a:ahLst/>
                <a:cxnLst>
                  <a:cxn ang="0">
                    <a:pos x="connsiteX0" y="connsiteY0"/>
                  </a:cxn>
                  <a:cxn ang="0">
                    <a:pos x="connsiteX1" y="connsiteY1"/>
                  </a:cxn>
                  <a:cxn ang="0">
                    <a:pos x="connsiteX2" y="connsiteY2"/>
                  </a:cxn>
                </a:cxnLst>
                <a:rect l="l" t="t" r="r" b="b"/>
                <a:pathLst>
                  <a:path w="1581264" h="790632">
                    <a:moveTo>
                      <a:pt x="0" y="790632"/>
                    </a:moveTo>
                    <a:cubicBezTo>
                      <a:pt x="0" y="353978"/>
                      <a:pt x="353978" y="0"/>
                      <a:pt x="790632" y="0"/>
                    </a:cubicBezTo>
                    <a:cubicBezTo>
                      <a:pt x="1227286" y="0"/>
                      <a:pt x="1581264" y="353978"/>
                      <a:pt x="1581264" y="790632"/>
                    </a:cubicBezTo>
                  </a:path>
                </a:pathLst>
              </a:custGeom>
              <a:noFill/>
              <a:ln w="28575" cap="rnd" algn="ctr">
                <a:solidFill>
                  <a:srgbClr val="007680"/>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椭圆 23">
                <a:extLst>
                  <a:ext uri="{FF2B5EF4-FFF2-40B4-BE49-F238E27FC236}">
                    <a16:creationId xmlns:a16="http://schemas.microsoft.com/office/drawing/2014/main" id="{94C2E1B4-DAA4-6951-43AA-5F7D02E65CC4}"/>
                  </a:ext>
                </a:extLst>
              </p:cNvPr>
              <p:cNvSpPr/>
              <p:nvPr/>
            </p:nvSpPr>
            <p:spPr bwMode="gray">
              <a:xfrm>
                <a:off x="3990273" y="2796124"/>
                <a:ext cx="1154545" cy="1154545"/>
              </a:xfrm>
              <a:prstGeom prst="ellipse">
                <a:avLst/>
              </a:prstGeom>
              <a:noFill/>
              <a:ln w="571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椭圆 67">
                <a:extLst>
                  <a:ext uri="{FF2B5EF4-FFF2-40B4-BE49-F238E27FC236}">
                    <a16:creationId xmlns:a16="http://schemas.microsoft.com/office/drawing/2014/main" id="{29E0F83D-28A6-EE66-8DA1-F68CBD79B4B2}"/>
                  </a:ext>
                </a:extLst>
              </p:cNvPr>
              <p:cNvSpPr/>
              <p:nvPr/>
            </p:nvSpPr>
            <p:spPr bwMode="gray">
              <a:xfrm>
                <a:off x="3776550" y="2570452"/>
                <a:ext cx="1581264" cy="1581264"/>
              </a:xfrm>
              <a:custGeom>
                <a:avLst/>
                <a:gdLst>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0 w 1581264"/>
                  <a:gd name="connsiteY4" fmla="*/ 79063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 name="connsiteX4" fmla="*/ 91440 w 1581264"/>
                  <a:gd name="connsiteY4" fmla="*/ 882072 h 1581264"/>
                  <a:gd name="connsiteX0" fmla="*/ 0 w 1581264"/>
                  <a:gd name="connsiteY0" fmla="*/ 790632 h 1581264"/>
                  <a:gd name="connsiteX1" fmla="*/ 790632 w 1581264"/>
                  <a:gd name="connsiteY1" fmla="*/ 0 h 1581264"/>
                  <a:gd name="connsiteX2" fmla="*/ 1581264 w 1581264"/>
                  <a:gd name="connsiteY2" fmla="*/ 790632 h 1581264"/>
                  <a:gd name="connsiteX3" fmla="*/ 790632 w 1581264"/>
                  <a:gd name="connsiteY3" fmla="*/ 1581264 h 1581264"/>
                </a:gdLst>
                <a:ahLst/>
                <a:cxnLst>
                  <a:cxn ang="0">
                    <a:pos x="connsiteX0" y="connsiteY0"/>
                  </a:cxn>
                  <a:cxn ang="0">
                    <a:pos x="connsiteX1" y="connsiteY1"/>
                  </a:cxn>
                  <a:cxn ang="0">
                    <a:pos x="connsiteX2" y="connsiteY2"/>
                  </a:cxn>
                  <a:cxn ang="0">
                    <a:pos x="connsiteX3" y="connsiteY3"/>
                  </a:cxn>
                </a:cxnLst>
                <a:rect l="l" t="t" r="r" b="b"/>
                <a:pathLst>
                  <a:path w="1581264" h="1581264">
                    <a:moveTo>
                      <a:pt x="0" y="790632"/>
                    </a:moveTo>
                    <a:cubicBezTo>
                      <a:pt x="0" y="353978"/>
                      <a:pt x="353978" y="0"/>
                      <a:pt x="790632" y="0"/>
                    </a:cubicBezTo>
                    <a:cubicBezTo>
                      <a:pt x="1227286" y="0"/>
                      <a:pt x="1581264" y="353978"/>
                      <a:pt x="1581264" y="790632"/>
                    </a:cubicBezTo>
                    <a:cubicBezTo>
                      <a:pt x="1581264" y="1227286"/>
                      <a:pt x="1227286" y="1581264"/>
                      <a:pt x="790632" y="1581264"/>
                    </a:cubicBezTo>
                  </a:path>
                </a:pathLst>
              </a:custGeom>
              <a:noFill/>
              <a:ln w="28575" cap="rnd" algn="ctr">
                <a:solidFill>
                  <a:srgbClr val="43B02A"/>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6" name="椭圆 39">
                <a:extLst>
                  <a:ext uri="{FF2B5EF4-FFF2-40B4-BE49-F238E27FC236}">
                    <a16:creationId xmlns:a16="http://schemas.microsoft.com/office/drawing/2014/main" id="{36B954D5-8E7D-A1CA-7FFD-EE15879240C1}"/>
                  </a:ext>
                </a:extLst>
              </p:cNvPr>
              <p:cNvSpPr/>
              <p:nvPr/>
            </p:nvSpPr>
            <p:spPr bwMode="gray">
              <a:xfrm>
                <a:off x="4520903" y="2538029"/>
                <a:ext cx="92557" cy="92557"/>
              </a:xfrm>
              <a:prstGeom prst="ellipse">
                <a:avLst/>
              </a:prstGeom>
              <a:solidFill>
                <a:schemeClr val="bg1"/>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 name="椭圆 47">
                <a:extLst>
                  <a:ext uri="{FF2B5EF4-FFF2-40B4-BE49-F238E27FC236}">
                    <a16:creationId xmlns:a16="http://schemas.microsoft.com/office/drawing/2014/main" id="{6232F60D-1003-5DE1-EF0C-3EC24173C4BC}"/>
                  </a:ext>
                </a:extLst>
              </p:cNvPr>
              <p:cNvSpPr/>
              <p:nvPr/>
            </p:nvSpPr>
            <p:spPr bwMode="gray">
              <a:xfrm flipV="1">
                <a:off x="2939640" y="4130063"/>
                <a:ext cx="92557" cy="92557"/>
              </a:xfrm>
              <a:prstGeom prst="ellipse">
                <a:avLst/>
              </a:prstGeom>
              <a:solidFill>
                <a:schemeClr val="bg1"/>
              </a:solidFill>
              <a:ln w="19050" algn="ctr">
                <a:solidFill>
                  <a:srgbClr val="00768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8" name="矩形 6">
                <a:extLst>
                  <a:ext uri="{FF2B5EF4-FFF2-40B4-BE49-F238E27FC236}">
                    <a16:creationId xmlns:a16="http://schemas.microsoft.com/office/drawing/2014/main" id="{58D396F3-183B-DE62-C45F-B12D8273E175}"/>
                  </a:ext>
                </a:extLst>
              </p:cNvPr>
              <p:cNvSpPr/>
              <p:nvPr/>
            </p:nvSpPr>
            <p:spPr bwMode="gray">
              <a:xfrm>
                <a:off x="4527669" y="4088690"/>
                <a:ext cx="97050" cy="97050"/>
              </a:xfrm>
              <a:prstGeom prst="rect">
                <a:avLst/>
              </a:prstGeom>
              <a:solidFill>
                <a:srgbClr val="43B02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9" name="文本框 7">
                <a:extLst>
                  <a:ext uri="{FF2B5EF4-FFF2-40B4-BE49-F238E27FC236}">
                    <a16:creationId xmlns:a16="http://schemas.microsoft.com/office/drawing/2014/main" id="{4F3DF40C-8425-F152-B6EE-C12FDC3FA351}"/>
                  </a:ext>
                </a:extLst>
              </p:cNvPr>
              <p:cNvSpPr txBox="1"/>
              <p:nvPr/>
            </p:nvSpPr>
            <p:spPr>
              <a:xfrm>
                <a:off x="987770" y="3248881"/>
                <a:ext cx="839955" cy="284609"/>
              </a:xfrm>
              <a:prstGeom prst="rect">
                <a:avLst/>
              </a:prstGeom>
              <a:noFill/>
            </p:spPr>
            <p:txBody>
              <a:bodyPr vert="horz" wrap="square" lIns="0" tIns="0" rIns="0" bIns="0" rtlCol="0">
                <a:spAutoFit/>
              </a:bodyPr>
              <a:lstStyle/>
              <a:p>
                <a:pPr algn="ctr">
                  <a:buSzPct val="100000"/>
                </a:pPr>
                <a:r>
                  <a:rPr lang="en-NZ" sz="1600" dirty="0">
                    <a:solidFill>
                      <a:schemeClr val="bg1"/>
                    </a:solidFill>
                  </a:rPr>
                  <a:t>Confirming what you know </a:t>
                </a:r>
              </a:p>
            </p:txBody>
          </p:sp>
          <p:sp>
            <p:nvSpPr>
              <p:cNvPr id="30" name="文本框 57">
                <a:extLst>
                  <a:ext uri="{FF2B5EF4-FFF2-40B4-BE49-F238E27FC236}">
                    <a16:creationId xmlns:a16="http://schemas.microsoft.com/office/drawing/2014/main" id="{ECB39AF0-C036-D248-FAB7-BAA183691FC2}"/>
                  </a:ext>
                </a:extLst>
              </p:cNvPr>
              <p:cNvSpPr txBox="1"/>
              <p:nvPr/>
            </p:nvSpPr>
            <p:spPr>
              <a:xfrm>
                <a:off x="4224073" y="3061174"/>
                <a:ext cx="709722" cy="124516"/>
              </a:xfrm>
              <a:prstGeom prst="rect">
                <a:avLst/>
              </a:prstGeom>
              <a:noFill/>
            </p:spPr>
            <p:txBody>
              <a:bodyPr vert="horz" wrap="square" lIns="0" tIns="0" rIns="0" bIns="0" rtlCol="0">
                <a:spAutoFit/>
              </a:bodyPr>
              <a:lstStyle/>
              <a:p>
                <a:pPr algn="ctr">
                  <a:spcBef>
                    <a:spcPts val="200"/>
                  </a:spcBef>
                  <a:buSzPct val="100000"/>
                </a:pPr>
                <a:endParaRPr lang="en-US" sz="1400" dirty="0">
                  <a:solidFill>
                    <a:schemeClr val="bg1"/>
                  </a:solidFill>
                </a:endParaRPr>
              </a:p>
            </p:txBody>
          </p:sp>
          <p:sp>
            <p:nvSpPr>
              <p:cNvPr id="31" name="文本框 61">
                <a:extLst>
                  <a:ext uri="{FF2B5EF4-FFF2-40B4-BE49-F238E27FC236}">
                    <a16:creationId xmlns:a16="http://schemas.microsoft.com/office/drawing/2014/main" id="{8631C941-EF4C-C343-7C8F-0D34601889E3}"/>
                  </a:ext>
                </a:extLst>
              </p:cNvPr>
              <p:cNvSpPr txBox="1"/>
              <p:nvPr/>
            </p:nvSpPr>
            <p:spPr>
              <a:xfrm>
                <a:off x="2511245" y="3265586"/>
                <a:ext cx="960282" cy="299432"/>
              </a:xfrm>
              <a:prstGeom prst="rect">
                <a:avLst/>
              </a:prstGeom>
              <a:noFill/>
            </p:spPr>
            <p:txBody>
              <a:bodyPr vert="horz" wrap="square" lIns="0" tIns="0" rIns="0" bIns="0" rtlCol="0">
                <a:spAutoFit/>
              </a:bodyPr>
              <a:lstStyle/>
              <a:p>
                <a:pPr algn="ctr">
                  <a:spcBef>
                    <a:spcPts val="200"/>
                  </a:spcBef>
                  <a:buSzPct val="100000"/>
                </a:pPr>
                <a:r>
                  <a:rPr lang="en-NZ" sz="1600" dirty="0">
                    <a:solidFill>
                      <a:schemeClr val="bg1"/>
                    </a:solidFill>
                  </a:rPr>
                  <a:t>Confirming what </a:t>
                </a:r>
              </a:p>
              <a:p>
                <a:pPr algn="ctr">
                  <a:spcBef>
                    <a:spcPts val="200"/>
                  </a:spcBef>
                  <a:buSzPct val="100000"/>
                </a:pPr>
                <a:r>
                  <a:rPr lang="en-NZ" sz="1600" dirty="0">
                    <a:solidFill>
                      <a:schemeClr val="bg1"/>
                    </a:solidFill>
                  </a:rPr>
                  <a:t>you don’t know </a:t>
                </a:r>
              </a:p>
            </p:txBody>
          </p:sp>
          <p:grpSp>
            <p:nvGrpSpPr>
              <p:cNvPr id="46" name="组合 5">
                <a:extLst>
                  <a:ext uri="{FF2B5EF4-FFF2-40B4-BE49-F238E27FC236}">
                    <a16:creationId xmlns:a16="http://schemas.microsoft.com/office/drawing/2014/main" id="{760EC2E4-760A-C3AA-BC4E-3069AD3ABC7C}"/>
                  </a:ext>
                </a:extLst>
              </p:cNvPr>
              <p:cNvGrpSpPr/>
              <p:nvPr/>
            </p:nvGrpSpPr>
            <p:grpSpPr>
              <a:xfrm>
                <a:off x="1358379" y="2538029"/>
                <a:ext cx="92557" cy="261559"/>
                <a:chOff x="1462613" y="2198686"/>
                <a:chExt cx="92557" cy="261559"/>
              </a:xfrm>
              <a:solidFill>
                <a:srgbClr val="005587"/>
              </a:solidFill>
            </p:grpSpPr>
            <p:sp>
              <p:nvSpPr>
                <p:cNvPr id="52" name="梯形 4">
                  <a:extLst>
                    <a:ext uri="{FF2B5EF4-FFF2-40B4-BE49-F238E27FC236}">
                      <a16:creationId xmlns:a16="http://schemas.microsoft.com/office/drawing/2014/main" id="{843752E7-3270-D776-F39F-FF4E1E8568C4}"/>
                    </a:ext>
                  </a:extLst>
                </p:cNvPr>
                <p:cNvSpPr/>
                <p:nvPr/>
              </p:nvSpPr>
              <p:spPr bwMode="gray">
                <a:xfrm>
                  <a:off x="1462613" y="2244964"/>
                  <a:ext cx="92557" cy="215281"/>
                </a:xfrm>
                <a:prstGeom prst="trapezoid">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椭圆 28">
                  <a:extLst>
                    <a:ext uri="{FF2B5EF4-FFF2-40B4-BE49-F238E27FC236}">
                      <a16:creationId xmlns:a16="http://schemas.microsoft.com/office/drawing/2014/main" id="{06006254-C907-C59E-DAA8-2570D0767DE1}"/>
                    </a:ext>
                  </a:extLst>
                </p:cNvPr>
                <p:cNvSpPr/>
                <p:nvPr/>
              </p:nvSpPr>
              <p:spPr bwMode="gray">
                <a:xfrm>
                  <a:off x="1462613" y="2198686"/>
                  <a:ext cx="92557" cy="92557"/>
                </a:xfrm>
                <a:prstGeom prst="ellipse">
                  <a:avLst/>
                </a:prstGeom>
                <a:solidFill>
                  <a:srgbClr val="FFFFFF"/>
                </a:solidFill>
                <a:ln w="19050" algn="ctr">
                  <a:solidFill>
                    <a:srgbClr val="005587"/>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sp>
          <p:nvSpPr>
            <p:cNvPr id="17" name="矩形 6">
              <a:extLst>
                <a:ext uri="{FF2B5EF4-FFF2-40B4-BE49-F238E27FC236}">
                  <a16:creationId xmlns:a16="http://schemas.microsoft.com/office/drawing/2014/main" id="{9E588091-8EDC-036B-F670-CECE20CD1890}"/>
                </a:ext>
              </a:extLst>
            </p:cNvPr>
            <p:cNvSpPr/>
            <p:nvPr/>
          </p:nvSpPr>
          <p:spPr bwMode="gray">
            <a:xfrm>
              <a:off x="3285800" y="4703703"/>
              <a:ext cx="154828" cy="150673"/>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pic>
        <p:nvPicPr>
          <p:cNvPr id="12" name="Graphic 11" descr="Clock outline">
            <a:extLst>
              <a:ext uri="{FF2B5EF4-FFF2-40B4-BE49-F238E27FC236}">
                <a16:creationId xmlns:a16="http://schemas.microsoft.com/office/drawing/2014/main" id="{828C09B5-2B01-13FA-36C6-7E18A62C6E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58484" y="3109267"/>
            <a:ext cx="914400" cy="914400"/>
          </a:xfrm>
          <a:prstGeom prst="rect">
            <a:avLst/>
          </a:prstGeom>
        </p:spPr>
      </p:pic>
    </p:spTree>
    <p:extLst>
      <p:ext uri="{BB962C8B-B14F-4D97-AF65-F5344CB8AC3E}">
        <p14:creationId xmlns:p14="http://schemas.microsoft.com/office/powerpoint/2010/main" val="378526794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F505F85-3D42-0670-6F18-AA1B31AFA62D}"/>
              </a:ext>
            </a:extLst>
          </p:cNvPr>
          <p:cNvSpPr txBox="1"/>
          <p:nvPr/>
        </p:nvSpPr>
        <p:spPr>
          <a:xfrm>
            <a:off x="430550" y="323577"/>
            <a:ext cx="7248633" cy="461665"/>
          </a:xfrm>
          <a:prstGeom prst="rect">
            <a:avLst/>
          </a:prstGeom>
          <a:noFill/>
        </p:spPr>
        <p:txBody>
          <a:bodyPr wrap="square" rtlCol="0">
            <a:spAutoFit/>
          </a:bodyPr>
          <a:lstStyle/>
          <a:p>
            <a:r>
              <a:rPr lang="en-NZ" sz="2400" dirty="0">
                <a:solidFill>
                  <a:schemeClr val="bg1"/>
                </a:solidFill>
              </a:rPr>
              <a:t>Scope &amp; Contain</a:t>
            </a:r>
          </a:p>
        </p:txBody>
      </p:sp>
      <p:sp>
        <p:nvSpPr>
          <p:cNvPr id="2" name="Rectangle 1">
            <a:extLst>
              <a:ext uri="{FF2B5EF4-FFF2-40B4-BE49-F238E27FC236}">
                <a16:creationId xmlns:a16="http://schemas.microsoft.com/office/drawing/2014/main" id="{2A704624-2D2E-9003-29DA-D862B9864979}"/>
              </a:ext>
            </a:extLst>
          </p:cNvPr>
          <p:cNvSpPr/>
          <p:nvPr/>
        </p:nvSpPr>
        <p:spPr>
          <a:xfrm>
            <a:off x="430550" y="755044"/>
            <a:ext cx="8309443" cy="32802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9710" tIns="54855" rIns="109710" bIns="54855" rtlCol="0" anchor="ctr"/>
          <a:lstStyle/>
          <a:p>
            <a:endParaRPr lang="en-NZ" dirty="0">
              <a:solidFill>
                <a:schemeClr val="bg1">
                  <a:lumMod val="85000"/>
                </a:schemeClr>
              </a:solidFill>
            </a:endParaRPr>
          </a:p>
          <a:p>
            <a:r>
              <a:rPr lang="en-NZ" dirty="0">
                <a:solidFill>
                  <a:schemeClr val="bg1">
                    <a:lumMod val="85000"/>
                  </a:schemeClr>
                </a:solidFill>
              </a:rPr>
              <a:t>Scope project, identify &amp; protect relevant data and enable short term remedial action</a:t>
            </a:r>
          </a:p>
          <a:p>
            <a:endParaRPr lang="en-NZ" dirty="0">
              <a:solidFill>
                <a:schemeClr val="bg1">
                  <a:lumMod val="85000"/>
                </a:schemeClr>
              </a:solidFill>
            </a:endParaRPr>
          </a:p>
        </p:txBody>
      </p:sp>
      <p:sp>
        <p:nvSpPr>
          <p:cNvPr id="74" name="TextBox 73">
            <a:extLst>
              <a:ext uri="{FF2B5EF4-FFF2-40B4-BE49-F238E27FC236}">
                <a16:creationId xmlns:a16="http://schemas.microsoft.com/office/drawing/2014/main" id="{503B6D8E-F129-F6F4-D309-8B1BFF9ED508}"/>
              </a:ext>
            </a:extLst>
          </p:cNvPr>
          <p:cNvSpPr txBox="1"/>
          <p:nvPr/>
        </p:nvSpPr>
        <p:spPr>
          <a:xfrm>
            <a:off x="1173434" y="4811443"/>
            <a:ext cx="1661984" cy="923330"/>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500" b="0" i="0" u="none" strike="noStrike" kern="0" cap="none" spc="0" normalizeH="0" baseline="0" noProof="0" dirty="0">
                <a:ln>
                  <a:noFill/>
                </a:ln>
                <a:solidFill>
                  <a:schemeClr val="bg1"/>
                </a:solidFill>
                <a:effectLst/>
                <a:uLnTx/>
                <a:uFillTx/>
                <a:latin typeface="Calibri Light"/>
              </a:rPr>
              <a:t>What is the appropriate scope and level of response?</a:t>
            </a:r>
          </a:p>
        </p:txBody>
      </p:sp>
      <p:sp>
        <p:nvSpPr>
          <p:cNvPr id="75" name="TextBox 74">
            <a:extLst>
              <a:ext uri="{FF2B5EF4-FFF2-40B4-BE49-F238E27FC236}">
                <a16:creationId xmlns:a16="http://schemas.microsoft.com/office/drawing/2014/main" id="{B59202F6-B505-9482-F5FB-1BA536413E12}"/>
              </a:ext>
            </a:extLst>
          </p:cNvPr>
          <p:cNvSpPr txBox="1"/>
          <p:nvPr/>
        </p:nvSpPr>
        <p:spPr>
          <a:xfrm>
            <a:off x="3325606" y="4811443"/>
            <a:ext cx="1661979" cy="123110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500" b="0" i="0" u="none" strike="noStrike" kern="0" cap="none" spc="0" normalizeH="0" baseline="0" noProof="0" dirty="0">
                <a:ln>
                  <a:noFill/>
                </a:ln>
                <a:solidFill>
                  <a:schemeClr val="bg1"/>
                </a:solidFill>
                <a:effectLst/>
                <a:uLnTx/>
                <a:uFillTx/>
                <a:latin typeface="Calibri Light"/>
              </a:rPr>
              <a:t>Which systems hold relevant data? </a:t>
            </a:r>
          </a:p>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US" sz="1500" b="0" i="0" u="none" strike="noStrike" kern="0" cap="none" spc="0" normalizeH="0" baseline="0" noProof="0" dirty="0">
                <a:ln>
                  <a:noFill/>
                </a:ln>
                <a:solidFill>
                  <a:schemeClr val="bg1"/>
                </a:solidFill>
                <a:effectLst/>
                <a:uLnTx/>
                <a:uFillTx/>
                <a:latin typeface="Calibri Light"/>
              </a:rPr>
              <a:t>How do we ensure it is retained &amp; accessible?</a:t>
            </a:r>
          </a:p>
        </p:txBody>
      </p:sp>
      <p:sp>
        <p:nvSpPr>
          <p:cNvPr id="76" name="TextBox 75">
            <a:extLst>
              <a:ext uri="{FF2B5EF4-FFF2-40B4-BE49-F238E27FC236}">
                <a16:creationId xmlns:a16="http://schemas.microsoft.com/office/drawing/2014/main" id="{644BA269-D1F1-3DD9-482B-1E315C39D015}"/>
              </a:ext>
            </a:extLst>
          </p:cNvPr>
          <p:cNvSpPr txBox="1"/>
          <p:nvPr/>
        </p:nvSpPr>
        <p:spPr>
          <a:xfrm>
            <a:off x="5444424" y="4811443"/>
            <a:ext cx="1595637" cy="1231106"/>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NZ" sz="1500" b="0" i="0" u="none" strike="noStrike" kern="0" cap="none" spc="0" normalizeH="0" baseline="0" noProof="0" dirty="0">
                <a:ln>
                  <a:noFill/>
                </a:ln>
                <a:solidFill>
                  <a:schemeClr val="bg1"/>
                </a:solidFill>
                <a:effectLst/>
                <a:uLnTx/>
                <a:uFillTx/>
                <a:latin typeface="Calibri Light"/>
              </a:rPr>
              <a:t>What are our legal obligations &amp; protocols? </a:t>
            </a:r>
          </a:p>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NZ" sz="1500" b="0" i="0" u="none" strike="noStrike" kern="0" cap="none" spc="0" normalizeH="0" baseline="0" noProof="0" dirty="0">
                <a:ln>
                  <a:noFill/>
                </a:ln>
                <a:solidFill>
                  <a:schemeClr val="bg1"/>
                </a:solidFill>
                <a:effectLst/>
                <a:uLnTx/>
                <a:uFillTx/>
                <a:latin typeface="Calibri Light"/>
              </a:rPr>
              <a:t>Is there a need to advise a regulator? </a:t>
            </a:r>
          </a:p>
        </p:txBody>
      </p:sp>
      <p:sp>
        <p:nvSpPr>
          <p:cNvPr id="77" name="TextBox 76">
            <a:extLst>
              <a:ext uri="{FF2B5EF4-FFF2-40B4-BE49-F238E27FC236}">
                <a16:creationId xmlns:a16="http://schemas.microsoft.com/office/drawing/2014/main" id="{93EE31AF-64FA-BF31-7873-AC50854DECA1}"/>
              </a:ext>
            </a:extLst>
          </p:cNvPr>
          <p:cNvSpPr txBox="1"/>
          <p:nvPr/>
        </p:nvSpPr>
        <p:spPr>
          <a:xfrm>
            <a:off x="9554510" y="4837130"/>
            <a:ext cx="1533953" cy="923330"/>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lang="en-NZ" sz="1500" kern="0" dirty="0">
                <a:solidFill>
                  <a:schemeClr val="bg1"/>
                </a:solidFill>
                <a:latin typeface="Calibri Light"/>
              </a:rPr>
              <a:t>What is the make up of the team that needs to be mobilised?</a:t>
            </a:r>
            <a:endParaRPr kumimoji="0" lang="en-NZ" sz="1500" b="0" i="0" u="none" strike="noStrike" kern="0" cap="none" spc="0" normalizeH="0" baseline="0" noProof="0" dirty="0">
              <a:ln>
                <a:noFill/>
              </a:ln>
              <a:solidFill>
                <a:schemeClr val="bg1"/>
              </a:solidFill>
              <a:effectLst/>
              <a:uLnTx/>
              <a:uFillTx/>
              <a:latin typeface="Calibri Light"/>
            </a:endParaRPr>
          </a:p>
        </p:txBody>
      </p:sp>
      <p:sp>
        <p:nvSpPr>
          <p:cNvPr id="78" name="TextBox 77">
            <a:extLst>
              <a:ext uri="{FF2B5EF4-FFF2-40B4-BE49-F238E27FC236}">
                <a16:creationId xmlns:a16="http://schemas.microsoft.com/office/drawing/2014/main" id="{E9E2104E-BABB-D04E-684F-EC90D4BA1140}"/>
              </a:ext>
            </a:extLst>
          </p:cNvPr>
          <p:cNvSpPr txBox="1"/>
          <p:nvPr/>
        </p:nvSpPr>
        <p:spPr>
          <a:xfrm>
            <a:off x="7417252" y="4837130"/>
            <a:ext cx="1703517" cy="923330"/>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Pct val="100000"/>
              <a:buFontTx/>
              <a:buNone/>
              <a:tabLst/>
              <a:defRPr/>
            </a:pPr>
            <a:r>
              <a:rPr kumimoji="0" lang="en-NZ" sz="1500" b="0" i="0" u="none" strike="noStrike" kern="0" cap="none" spc="0" normalizeH="0" baseline="0" noProof="0" dirty="0">
                <a:ln>
                  <a:noFill/>
                </a:ln>
                <a:solidFill>
                  <a:schemeClr val="bg1"/>
                </a:solidFill>
                <a:effectLst/>
                <a:uLnTx/>
                <a:uFillTx/>
                <a:latin typeface="Calibri Light"/>
              </a:rPr>
              <a:t>What steps need to be taken to mitigate the issue ahead of remediation?</a:t>
            </a:r>
          </a:p>
        </p:txBody>
      </p:sp>
      <p:sp>
        <p:nvSpPr>
          <p:cNvPr id="106" name="Arc 105">
            <a:extLst>
              <a:ext uri="{FF2B5EF4-FFF2-40B4-BE49-F238E27FC236}">
                <a16:creationId xmlns:a16="http://schemas.microsoft.com/office/drawing/2014/main" id="{5B583181-2812-C65F-449B-0FA301E17401}"/>
              </a:ext>
            </a:extLst>
          </p:cNvPr>
          <p:cNvSpPr/>
          <p:nvPr/>
        </p:nvSpPr>
        <p:spPr>
          <a:xfrm rot="5074366">
            <a:off x="5313478" y="1915839"/>
            <a:ext cx="1804902" cy="1874398"/>
          </a:xfrm>
          <a:prstGeom prst="arc">
            <a:avLst>
              <a:gd name="adj1" fmla="val 7056037"/>
              <a:gd name="adj2" fmla="val 14055003"/>
            </a:avLst>
          </a:prstGeom>
          <a:noFill/>
          <a:ln w="9525" cap="flat" cmpd="sng" algn="ctr">
            <a:solidFill>
              <a:sysClr val="window" lastClr="FFFFFF">
                <a:lumMod val="65000"/>
              </a:sysClr>
            </a:solidFill>
            <a:prstDash val="solid"/>
            <a:headEnd type="none"/>
            <a:tailEnd type="arrow"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107" name="Arc 106">
            <a:extLst>
              <a:ext uri="{FF2B5EF4-FFF2-40B4-BE49-F238E27FC236}">
                <a16:creationId xmlns:a16="http://schemas.microsoft.com/office/drawing/2014/main" id="{5D2DD8B5-667C-07E4-834C-9733FBA9981D}"/>
              </a:ext>
            </a:extLst>
          </p:cNvPr>
          <p:cNvSpPr/>
          <p:nvPr/>
        </p:nvSpPr>
        <p:spPr>
          <a:xfrm rot="5074366">
            <a:off x="7318952" y="1915839"/>
            <a:ext cx="1804902" cy="1874398"/>
          </a:xfrm>
          <a:prstGeom prst="arc">
            <a:avLst>
              <a:gd name="adj1" fmla="val 7056037"/>
              <a:gd name="adj2" fmla="val 14055003"/>
            </a:avLst>
          </a:prstGeom>
          <a:noFill/>
          <a:ln w="9525" cap="flat" cmpd="sng" algn="ctr">
            <a:solidFill>
              <a:sysClr val="window" lastClr="FFFFFF">
                <a:lumMod val="65000"/>
              </a:sysClr>
            </a:solidFill>
            <a:prstDash val="solid"/>
            <a:headEnd type="none"/>
            <a:tailEnd type="arrow"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108" name="Arc 107">
            <a:extLst>
              <a:ext uri="{FF2B5EF4-FFF2-40B4-BE49-F238E27FC236}">
                <a16:creationId xmlns:a16="http://schemas.microsoft.com/office/drawing/2014/main" id="{E2EBD3AF-A9A2-C862-BA33-06ABF6BD2A69}"/>
              </a:ext>
            </a:extLst>
          </p:cNvPr>
          <p:cNvSpPr/>
          <p:nvPr/>
        </p:nvSpPr>
        <p:spPr>
          <a:xfrm rot="5074366">
            <a:off x="9359289" y="1915838"/>
            <a:ext cx="1804902" cy="1874398"/>
          </a:xfrm>
          <a:prstGeom prst="arc">
            <a:avLst>
              <a:gd name="adj1" fmla="val 7056037"/>
              <a:gd name="adj2" fmla="val 4037342"/>
            </a:avLst>
          </a:prstGeom>
          <a:noFill/>
          <a:ln w="9525" cap="flat" cmpd="sng" algn="ctr">
            <a:solidFill>
              <a:sysClr val="window" lastClr="FFFFFF">
                <a:lumMod val="65000"/>
              </a:sysClr>
            </a:solidFill>
            <a:prstDash val="solid"/>
            <a:headEnd type="none"/>
            <a:tailEnd type="none"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109" name="Arc 108">
            <a:extLst>
              <a:ext uri="{FF2B5EF4-FFF2-40B4-BE49-F238E27FC236}">
                <a16:creationId xmlns:a16="http://schemas.microsoft.com/office/drawing/2014/main" id="{9B9FF97A-B59B-0FB2-3F8A-FDA3B6943CF6}"/>
              </a:ext>
            </a:extLst>
          </p:cNvPr>
          <p:cNvSpPr/>
          <p:nvPr/>
        </p:nvSpPr>
        <p:spPr>
          <a:xfrm rot="5074366">
            <a:off x="3221756" y="1915839"/>
            <a:ext cx="1804902" cy="1874398"/>
          </a:xfrm>
          <a:prstGeom prst="arc">
            <a:avLst>
              <a:gd name="adj1" fmla="val 7056037"/>
              <a:gd name="adj2" fmla="val 14055003"/>
            </a:avLst>
          </a:prstGeom>
          <a:noFill/>
          <a:ln w="9525" cap="flat" cmpd="sng" algn="ctr">
            <a:solidFill>
              <a:sysClr val="window" lastClr="FFFFFF">
                <a:lumMod val="65000"/>
              </a:sysClr>
            </a:solidFill>
            <a:prstDash val="solid"/>
            <a:headEnd type="none"/>
            <a:tailEnd type="arrow"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110" name="Arc 109">
            <a:extLst>
              <a:ext uri="{FF2B5EF4-FFF2-40B4-BE49-F238E27FC236}">
                <a16:creationId xmlns:a16="http://schemas.microsoft.com/office/drawing/2014/main" id="{3F29D2F3-A26D-328F-CEB2-ADD0B76B494D}"/>
              </a:ext>
            </a:extLst>
          </p:cNvPr>
          <p:cNvSpPr/>
          <p:nvPr/>
        </p:nvSpPr>
        <p:spPr>
          <a:xfrm rot="5074366">
            <a:off x="3221756" y="1915839"/>
            <a:ext cx="1804902" cy="1874398"/>
          </a:xfrm>
          <a:prstGeom prst="arc">
            <a:avLst>
              <a:gd name="adj1" fmla="val 17745980"/>
              <a:gd name="adj2" fmla="val 4121998"/>
            </a:avLst>
          </a:prstGeom>
          <a:noFill/>
          <a:ln w="9525" cap="flat" cmpd="sng" algn="ctr">
            <a:solidFill>
              <a:sysClr val="window" lastClr="FFFFFF">
                <a:lumMod val="65000"/>
              </a:sysClr>
            </a:solidFill>
            <a:prstDash val="solid"/>
            <a:headEnd type="none"/>
            <a:tailEnd type="none"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111" name="Oval 110">
            <a:extLst>
              <a:ext uri="{FF2B5EF4-FFF2-40B4-BE49-F238E27FC236}">
                <a16:creationId xmlns:a16="http://schemas.microsoft.com/office/drawing/2014/main" id="{4A727E12-1693-F068-1C67-A1A349E8E569}"/>
              </a:ext>
            </a:extLst>
          </p:cNvPr>
          <p:cNvSpPr/>
          <p:nvPr/>
        </p:nvSpPr>
        <p:spPr bwMode="gray">
          <a:xfrm>
            <a:off x="3357879" y="2115122"/>
            <a:ext cx="1532657" cy="1475831"/>
          </a:xfrm>
          <a:prstGeom prst="ellipse">
            <a:avLst/>
          </a:prstGeom>
          <a:solidFill>
            <a:srgbClr val="046A38"/>
          </a:solidFill>
          <a:ln w="120650" algn="ctr">
            <a:solidFill>
              <a:srgbClr val="D0D0CE">
                <a:alpha val="62000"/>
              </a:srgb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latin typeface="Calibri Light"/>
            </a:endParaRPr>
          </a:p>
        </p:txBody>
      </p:sp>
      <p:sp>
        <p:nvSpPr>
          <p:cNvPr id="112" name="Arc 111">
            <a:extLst>
              <a:ext uri="{FF2B5EF4-FFF2-40B4-BE49-F238E27FC236}">
                <a16:creationId xmlns:a16="http://schemas.microsoft.com/office/drawing/2014/main" id="{D59F7178-991B-20DB-D760-6DFC0381ECE5}"/>
              </a:ext>
            </a:extLst>
          </p:cNvPr>
          <p:cNvSpPr/>
          <p:nvPr/>
        </p:nvSpPr>
        <p:spPr>
          <a:xfrm rot="5074366">
            <a:off x="1159527" y="1915839"/>
            <a:ext cx="1804902" cy="1874398"/>
          </a:xfrm>
          <a:prstGeom prst="arc">
            <a:avLst>
              <a:gd name="adj1" fmla="val 17745980"/>
              <a:gd name="adj2" fmla="val 14055003"/>
            </a:avLst>
          </a:prstGeom>
          <a:noFill/>
          <a:ln w="9525" cap="flat" cmpd="sng" algn="ctr">
            <a:solidFill>
              <a:sysClr val="window" lastClr="FFFFFF">
                <a:lumMod val="65000"/>
              </a:sysClr>
            </a:solidFill>
            <a:prstDash val="solid"/>
            <a:headEnd type="none"/>
            <a:tailEnd type="arrow"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113" name="Oval 112">
            <a:extLst>
              <a:ext uri="{FF2B5EF4-FFF2-40B4-BE49-F238E27FC236}">
                <a16:creationId xmlns:a16="http://schemas.microsoft.com/office/drawing/2014/main" id="{7A6F0249-FE09-76B7-E1E5-1594225CBFFD}"/>
              </a:ext>
            </a:extLst>
          </p:cNvPr>
          <p:cNvSpPr/>
          <p:nvPr/>
        </p:nvSpPr>
        <p:spPr bwMode="gray">
          <a:xfrm>
            <a:off x="1295649" y="2115122"/>
            <a:ext cx="1532657" cy="1475831"/>
          </a:xfrm>
          <a:prstGeom prst="ellipse">
            <a:avLst/>
          </a:prstGeom>
          <a:solidFill>
            <a:srgbClr val="86BC25"/>
          </a:solidFill>
          <a:ln w="120650" algn="ctr">
            <a:solidFill>
              <a:srgbClr val="D0D0CE">
                <a:alpha val="62000"/>
              </a:srgb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latin typeface="Calibri Light"/>
            </a:endParaRPr>
          </a:p>
        </p:txBody>
      </p:sp>
      <p:sp>
        <p:nvSpPr>
          <p:cNvPr id="114" name="Arc 113">
            <a:extLst>
              <a:ext uri="{FF2B5EF4-FFF2-40B4-BE49-F238E27FC236}">
                <a16:creationId xmlns:a16="http://schemas.microsoft.com/office/drawing/2014/main" id="{53B204C6-3375-3634-B9C8-A9991EF72206}"/>
              </a:ext>
            </a:extLst>
          </p:cNvPr>
          <p:cNvSpPr/>
          <p:nvPr/>
        </p:nvSpPr>
        <p:spPr>
          <a:xfrm rot="5074366">
            <a:off x="5313479" y="1915839"/>
            <a:ext cx="1804902" cy="1874398"/>
          </a:xfrm>
          <a:prstGeom prst="arc">
            <a:avLst>
              <a:gd name="adj1" fmla="val 17745980"/>
              <a:gd name="adj2" fmla="val 4106414"/>
            </a:avLst>
          </a:prstGeom>
          <a:noFill/>
          <a:ln w="9525" cap="flat" cmpd="sng" algn="ctr">
            <a:solidFill>
              <a:sysClr val="window" lastClr="FFFFFF">
                <a:lumMod val="65000"/>
              </a:sysClr>
            </a:solidFill>
            <a:prstDash val="solid"/>
            <a:headEnd type="none"/>
            <a:tailEnd type="none"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sp>
        <p:nvSpPr>
          <p:cNvPr id="115" name="Oval 114">
            <a:extLst>
              <a:ext uri="{FF2B5EF4-FFF2-40B4-BE49-F238E27FC236}">
                <a16:creationId xmlns:a16="http://schemas.microsoft.com/office/drawing/2014/main" id="{EC900F87-C72F-EDDA-F26F-7E58A9D0256F}"/>
              </a:ext>
            </a:extLst>
          </p:cNvPr>
          <p:cNvSpPr/>
          <p:nvPr/>
        </p:nvSpPr>
        <p:spPr bwMode="gray">
          <a:xfrm>
            <a:off x="5449602" y="2115122"/>
            <a:ext cx="1532657" cy="1475831"/>
          </a:xfrm>
          <a:prstGeom prst="ellipse">
            <a:avLst/>
          </a:prstGeom>
          <a:solidFill>
            <a:srgbClr val="43B02A"/>
          </a:solidFill>
          <a:ln w="120650" algn="ctr">
            <a:solidFill>
              <a:srgbClr val="D0D0CE">
                <a:alpha val="62000"/>
              </a:srgb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latin typeface="Calibri Light"/>
            </a:endParaRPr>
          </a:p>
        </p:txBody>
      </p:sp>
      <p:sp>
        <p:nvSpPr>
          <p:cNvPr id="116" name="Oval 115">
            <a:extLst>
              <a:ext uri="{FF2B5EF4-FFF2-40B4-BE49-F238E27FC236}">
                <a16:creationId xmlns:a16="http://schemas.microsoft.com/office/drawing/2014/main" id="{4CB38DD0-D29A-691D-EADD-3245E2A27767}"/>
              </a:ext>
            </a:extLst>
          </p:cNvPr>
          <p:cNvSpPr/>
          <p:nvPr/>
        </p:nvSpPr>
        <p:spPr bwMode="gray">
          <a:xfrm>
            <a:off x="9495414" y="2115122"/>
            <a:ext cx="1532657" cy="1475831"/>
          </a:xfrm>
          <a:prstGeom prst="ellipse">
            <a:avLst/>
          </a:prstGeom>
          <a:solidFill>
            <a:srgbClr val="2C5234"/>
          </a:solidFill>
          <a:ln w="120650" algn="ctr">
            <a:solidFill>
              <a:srgbClr val="D0D0CE">
                <a:alpha val="62000"/>
              </a:srgb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latin typeface="Calibri Light"/>
            </a:endParaRPr>
          </a:p>
        </p:txBody>
      </p:sp>
      <p:sp>
        <p:nvSpPr>
          <p:cNvPr id="117" name="Oval 116">
            <a:extLst>
              <a:ext uri="{FF2B5EF4-FFF2-40B4-BE49-F238E27FC236}">
                <a16:creationId xmlns:a16="http://schemas.microsoft.com/office/drawing/2014/main" id="{C1D3530D-8B42-61F9-05A6-AC547A4F84CB}"/>
              </a:ext>
            </a:extLst>
          </p:cNvPr>
          <p:cNvSpPr/>
          <p:nvPr/>
        </p:nvSpPr>
        <p:spPr bwMode="gray">
          <a:xfrm>
            <a:off x="7443009" y="2115122"/>
            <a:ext cx="1532657" cy="1475831"/>
          </a:xfrm>
          <a:prstGeom prst="ellipse">
            <a:avLst/>
          </a:prstGeom>
          <a:solidFill>
            <a:srgbClr val="86BC25"/>
          </a:solidFill>
          <a:ln w="120650" algn="ctr">
            <a:solidFill>
              <a:srgbClr val="D0D0CE">
                <a:alpha val="62000"/>
              </a:srgb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schemeClr val="bg1"/>
              </a:solidFill>
              <a:effectLst/>
              <a:uLnTx/>
              <a:uFillTx/>
              <a:latin typeface="Calibri Light"/>
            </a:endParaRPr>
          </a:p>
        </p:txBody>
      </p:sp>
      <p:sp>
        <p:nvSpPr>
          <p:cNvPr id="118" name="Arc 117">
            <a:extLst>
              <a:ext uri="{FF2B5EF4-FFF2-40B4-BE49-F238E27FC236}">
                <a16:creationId xmlns:a16="http://schemas.microsoft.com/office/drawing/2014/main" id="{8AA5F93D-010B-4135-791E-320C48815E37}"/>
              </a:ext>
            </a:extLst>
          </p:cNvPr>
          <p:cNvSpPr/>
          <p:nvPr/>
        </p:nvSpPr>
        <p:spPr>
          <a:xfrm rot="5074366">
            <a:off x="7306886" y="1915839"/>
            <a:ext cx="1804902" cy="1874398"/>
          </a:xfrm>
          <a:prstGeom prst="arc">
            <a:avLst>
              <a:gd name="adj1" fmla="val 17745980"/>
              <a:gd name="adj2" fmla="val 4035647"/>
            </a:avLst>
          </a:prstGeom>
          <a:noFill/>
          <a:ln w="9525" cap="flat" cmpd="sng" algn="ctr">
            <a:solidFill>
              <a:sysClr val="window" lastClr="FFFFFF">
                <a:lumMod val="65000"/>
              </a:sysClr>
            </a:solidFill>
            <a:prstDash val="solid"/>
            <a:headEnd type="none"/>
            <a:tailEnd type="none" w="lg" len="lg"/>
          </a:ln>
          <a:effectLst/>
        </p:spPr>
        <p:txBody>
          <a:bodyPr lIns="121917" tIns="60958" rIns="121917" bIns="60958"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bg1"/>
              </a:solidFill>
              <a:effectLst/>
              <a:uLnTx/>
              <a:uFillTx/>
              <a:latin typeface="Frutiger Next Pro Light"/>
              <a:ea typeface="+mn-ea"/>
              <a:cs typeface="+mn-cs"/>
            </a:endParaRPr>
          </a:p>
        </p:txBody>
      </p:sp>
      <p:cxnSp>
        <p:nvCxnSpPr>
          <p:cNvPr id="119" name="Straight Connector 118">
            <a:extLst>
              <a:ext uri="{FF2B5EF4-FFF2-40B4-BE49-F238E27FC236}">
                <a16:creationId xmlns:a16="http://schemas.microsoft.com/office/drawing/2014/main" id="{745848C4-22CD-99FD-F442-C85F49CFB2C5}"/>
              </a:ext>
            </a:extLst>
          </p:cNvPr>
          <p:cNvCxnSpPr>
            <a:cxnSpLocks/>
          </p:cNvCxnSpPr>
          <p:nvPr/>
        </p:nvCxnSpPr>
        <p:spPr>
          <a:xfrm>
            <a:off x="2061978" y="3753874"/>
            <a:ext cx="0" cy="781542"/>
          </a:xfrm>
          <a:prstGeom prst="line">
            <a:avLst/>
          </a:prstGeom>
          <a:solidFill>
            <a:sysClr val="window" lastClr="FFFFFF"/>
          </a:solidFill>
          <a:ln w="9525" cap="flat" cmpd="sng" algn="ctr">
            <a:solidFill>
              <a:sysClr val="window" lastClr="FFFFFF">
                <a:lumMod val="65000"/>
              </a:sysClr>
            </a:solidFill>
            <a:prstDash val="solid"/>
            <a:headEnd type="none"/>
            <a:tailEnd type="oval" w="med" len="med"/>
          </a:ln>
          <a:effectLst/>
        </p:spPr>
      </p:cxnSp>
      <p:cxnSp>
        <p:nvCxnSpPr>
          <p:cNvPr id="120" name="Straight Connector 119">
            <a:extLst>
              <a:ext uri="{FF2B5EF4-FFF2-40B4-BE49-F238E27FC236}">
                <a16:creationId xmlns:a16="http://schemas.microsoft.com/office/drawing/2014/main" id="{CD95238B-E1A7-D52F-E023-92EF0BBB0B75}"/>
              </a:ext>
            </a:extLst>
          </p:cNvPr>
          <p:cNvCxnSpPr>
            <a:cxnSpLocks/>
          </p:cNvCxnSpPr>
          <p:nvPr/>
        </p:nvCxnSpPr>
        <p:spPr>
          <a:xfrm>
            <a:off x="4124206" y="3753874"/>
            <a:ext cx="0" cy="781542"/>
          </a:xfrm>
          <a:prstGeom prst="line">
            <a:avLst/>
          </a:prstGeom>
          <a:solidFill>
            <a:sysClr val="window" lastClr="FFFFFF"/>
          </a:solidFill>
          <a:ln w="9525" cap="flat" cmpd="sng" algn="ctr">
            <a:solidFill>
              <a:sysClr val="window" lastClr="FFFFFF">
                <a:lumMod val="65000"/>
              </a:sysClr>
            </a:solidFill>
            <a:prstDash val="solid"/>
            <a:headEnd type="none"/>
            <a:tailEnd type="oval" w="med" len="med"/>
          </a:ln>
          <a:effectLst/>
        </p:spPr>
      </p:cxnSp>
      <p:cxnSp>
        <p:nvCxnSpPr>
          <p:cNvPr id="121" name="Straight Connector 120">
            <a:extLst>
              <a:ext uri="{FF2B5EF4-FFF2-40B4-BE49-F238E27FC236}">
                <a16:creationId xmlns:a16="http://schemas.microsoft.com/office/drawing/2014/main" id="{50DADB80-0662-BE44-136F-15184340FE7A}"/>
              </a:ext>
            </a:extLst>
          </p:cNvPr>
          <p:cNvCxnSpPr>
            <a:cxnSpLocks/>
          </p:cNvCxnSpPr>
          <p:nvPr/>
        </p:nvCxnSpPr>
        <p:spPr>
          <a:xfrm>
            <a:off x="6215930" y="3753874"/>
            <a:ext cx="0" cy="781542"/>
          </a:xfrm>
          <a:prstGeom prst="line">
            <a:avLst/>
          </a:prstGeom>
          <a:solidFill>
            <a:sysClr val="window" lastClr="FFFFFF"/>
          </a:solidFill>
          <a:ln w="9525" cap="flat" cmpd="sng" algn="ctr">
            <a:solidFill>
              <a:sysClr val="window" lastClr="FFFFFF">
                <a:lumMod val="65000"/>
              </a:sysClr>
            </a:solidFill>
            <a:prstDash val="solid"/>
            <a:headEnd type="none"/>
            <a:tailEnd type="oval" w="med" len="med"/>
          </a:ln>
          <a:effectLst/>
        </p:spPr>
      </p:cxnSp>
      <p:cxnSp>
        <p:nvCxnSpPr>
          <p:cNvPr id="122" name="Straight Connector 121">
            <a:extLst>
              <a:ext uri="{FF2B5EF4-FFF2-40B4-BE49-F238E27FC236}">
                <a16:creationId xmlns:a16="http://schemas.microsoft.com/office/drawing/2014/main" id="{0A32435D-D119-D7BA-32F9-52AB7FC31ABC}"/>
              </a:ext>
            </a:extLst>
          </p:cNvPr>
          <p:cNvCxnSpPr>
            <a:cxnSpLocks/>
          </p:cNvCxnSpPr>
          <p:nvPr/>
        </p:nvCxnSpPr>
        <p:spPr>
          <a:xfrm>
            <a:off x="8209336" y="3753874"/>
            <a:ext cx="0" cy="781542"/>
          </a:xfrm>
          <a:prstGeom prst="line">
            <a:avLst/>
          </a:prstGeom>
          <a:solidFill>
            <a:sysClr val="window" lastClr="FFFFFF"/>
          </a:solidFill>
          <a:ln w="9525" cap="flat" cmpd="sng" algn="ctr">
            <a:solidFill>
              <a:sysClr val="window" lastClr="FFFFFF">
                <a:lumMod val="65000"/>
              </a:sysClr>
            </a:solidFill>
            <a:prstDash val="solid"/>
            <a:headEnd type="none"/>
            <a:tailEnd type="oval" w="med" len="med"/>
          </a:ln>
          <a:effectLst/>
        </p:spPr>
      </p:cxnSp>
      <p:cxnSp>
        <p:nvCxnSpPr>
          <p:cNvPr id="123" name="Straight Connector 122">
            <a:extLst>
              <a:ext uri="{FF2B5EF4-FFF2-40B4-BE49-F238E27FC236}">
                <a16:creationId xmlns:a16="http://schemas.microsoft.com/office/drawing/2014/main" id="{2A5DE921-DA61-EAF4-9E20-24923EE0CB50}"/>
              </a:ext>
            </a:extLst>
          </p:cNvPr>
          <p:cNvCxnSpPr>
            <a:cxnSpLocks/>
          </p:cNvCxnSpPr>
          <p:nvPr/>
        </p:nvCxnSpPr>
        <p:spPr>
          <a:xfrm>
            <a:off x="10261742" y="3753874"/>
            <a:ext cx="0" cy="781542"/>
          </a:xfrm>
          <a:prstGeom prst="line">
            <a:avLst/>
          </a:prstGeom>
          <a:solidFill>
            <a:sysClr val="window" lastClr="FFFFFF"/>
          </a:solidFill>
          <a:ln w="9525" cap="flat" cmpd="sng" algn="ctr">
            <a:solidFill>
              <a:sysClr val="window" lastClr="FFFFFF">
                <a:lumMod val="65000"/>
              </a:sysClr>
            </a:solidFill>
            <a:prstDash val="solid"/>
            <a:headEnd type="none"/>
            <a:tailEnd type="oval" w="med" len="med"/>
          </a:ln>
          <a:effectLst/>
        </p:spPr>
      </p:cxnSp>
      <p:sp>
        <p:nvSpPr>
          <p:cNvPr id="126" name="Graphic 4">
            <a:extLst>
              <a:ext uri="{FF2B5EF4-FFF2-40B4-BE49-F238E27FC236}">
                <a16:creationId xmlns:a16="http://schemas.microsoft.com/office/drawing/2014/main" id="{7A8990C6-07EA-EEE7-1CE9-BB8CF7CE2D8A}"/>
              </a:ext>
            </a:extLst>
          </p:cNvPr>
          <p:cNvSpPr/>
          <p:nvPr/>
        </p:nvSpPr>
        <p:spPr>
          <a:xfrm>
            <a:off x="7977718" y="2503726"/>
            <a:ext cx="522233" cy="658672"/>
          </a:xfrm>
          <a:custGeom>
            <a:avLst/>
            <a:gdLst>
              <a:gd name="connsiteX0" fmla="*/ 136745 w 143773"/>
              <a:gd name="connsiteY0" fmla="*/ 93252 h 197310"/>
              <a:gd name="connsiteX1" fmla="*/ 130355 w 143773"/>
              <a:gd name="connsiteY1" fmla="*/ 93252 h 197310"/>
              <a:gd name="connsiteX2" fmla="*/ 130355 w 143773"/>
              <a:gd name="connsiteY2" fmla="*/ 60694 h 197310"/>
              <a:gd name="connsiteX3" fmla="*/ 73484 w 143773"/>
              <a:gd name="connsiteY3" fmla="*/ 46 h 197310"/>
              <a:gd name="connsiteX4" fmla="*/ 12780 w 143773"/>
              <a:gd name="connsiteY4" fmla="*/ 56863 h 197310"/>
              <a:gd name="connsiteX5" fmla="*/ 12780 w 143773"/>
              <a:gd name="connsiteY5" fmla="*/ 60694 h 197310"/>
              <a:gd name="connsiteX6" fmla="*/ 12780 w 143773"/>
              <a:gd name="connsiteY6" fmla="*/ 93252 h 197310"/>
              <a:gd name="connsiteX7" fmla="*/ 6390 w 143773"/>
              <a:gd name="connsiteY7" fmla="*/ 93252 h 197310"/>
              <a:gd name="connsiteX8" fmla="*/ 0 w 143773"/>
              <a:gd name="connsiteY8" fmla="*/ 99636 h 197310"/>
              <a:gd name="connsiteX9" fmla="*/ 0 w 143773"/>
              <a:gd name="connsiteY9" fmla="*/ 190927 h 197310"/>
              <a:gd name="connsiteX10" fmla="*/ 6390 w 143773"/>
              <a:gd name="connsiteY10" fmla="*/ 197311 h 197310"/>
              <a:gd name="connsiteX11" fmla="*/ 137384 w 143773"/>
              <a:gd name="connsiteY11" fmla="*/ 197311 h 197310"/>
              <a:gd name="connsiteX12" fmla="*/ 143774 w 143773"/>
              <a:gd name="connsiteY12" fmla="*/ 190927 h 197310"/>
              <a:gd name="connsiteX13" fmla="*/ 143774 w 143773"/>
              <a:gd name="connsiteY13" fmla="*/ 99636 h 197310"/>
              <a:gd name="connsiteX14" fmla="*/ 137384 w 143773"/>
              <a:gd name="connsiteY14" fmla="*/ 93252 h 197310"/>
              <a:gd name="connsiteX15" fmla="*/ 136745 w 143773"/>
              <a:gd name="connsiteY15" fmla="*/ 93252 h 197310"/>
              <a:gd name="connsiteX16" fmla="*/ 25560 w 143773"/>
              <a:gd name="connsiteY16" fmla="*/ 60694 h 197310"/>
              <a:gd name="connsiteX17" fmla="*/ 69650 w 143773"/>
              <a:gd name="connsiteY17" fmla="*/ 13452 h 197310"/>
              <a:gd name="connsiteX18" fmla="*/ 116936 w 143773"/>
              <a:gd name="connsiteY18" fmla="*/ 57502 h 197310"/>
              <a:gd name="connsiteX19" fmla="*/ 116936 w 143773"/>
              <a:gd name="connsiteY19" fmla="*/ 60694 h 197310"/>
              <a:gd name="connsiteX20" fmla="*/ 116936 w 143773"/>
              <a:gd name="connsiteY20" fmla="*/ 93252 h 197310"/>
              <a:gd name="connsiteX21" fmla="*/ 25560 w 143773"/>
              <a:gd name="connsiteY21" fmla="*/ 93252 h 197310"/>
              <a:gd name="connsiteX22" fmla="*/ 25560 w 143773"/>
              <a:gd name="connsiteY22" fmla="*/ 60694 h 197310"/>
              <a:gd name="connsiteX23" fmla="*/ 130355 w 143773"/>
              <a:gd name="connsiteY23" fmla="*/ 184543 h 197310"/>
              <a:gd name="connsiteX24" fmla="*/ 12780 w 143773"/>
              <a:gd name="connsiteY24" fmla="*/ 184543 h 197310"/>
              <a:gd name="connsiteX25" fmla="*/ 12780 w 143773"/>
              <a:gd name="connsiteY25" fmla="*/ 106020 h 197310"/>
              <a:gd name="connsiteX26" fmla="*/ 130994 w 143773"/>
              <a:gd name="connsiteY26" fmla="*/ 106020 h 197310"/>
              <a:gd name="connsiteX27" fmla="*/ 130994 w 143773"/>
              <a:gd name="connsiteY27" fmla="*/ 184543 h 19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3773" h="197310">
                <a:moveTo>
                  <a:pt x="136745" y="93252"/>
                </a:moveTo>
                <a:lnTo>
                  <a:pt x="130355" y="93252"/>
                </a:lnTo>
                <a:lnTo>
                  <a:pt x="130355" y="60694"/>
                </a:lnTo>
                <a:cubicBezTo>
                  <a:pt x="131633" y="28135"/>
                  <a:pt x="106073" y="1323"/>
                  <a:pt x="73484" y="46"/>
                </a:cubicBezTo>
                <a:cubicBezTo>
                  <a:pt x="40896" y="-1231"/>
                  <a:pt x="14058" y="24305"/>
                  <a:pt x="12780" y="56863"/>
                </a:cubicBezTo>
                <a:cubicBezTo>
                  <a:pt x="12780" y="58140"/>
                  <a:pt x="12780" y="59417"/>
                  <a:pt x="12780" y="60694"/>
                </a:cubicBezTo>
                <a:lnTo>
                  <a:pt x="12780" y="93252"/>
                </a:lnTo>
                <a:lnTo>
                  <a:pt x="6390" y="93252"/>
                </a:lnTo>
                <a:cubicBezTo>
                  <a:pt x="2556" y="93252"/>
                  <a:pt x="0" y="95806"/>
                  <a:pt x="0" y="99636"/>
                </a:cubicBezTo>
                <a:lnTo>
                  <a:pt x="0" y="190927"/>
                </a:lnTo>
                <a:cubicBezTo>
                  <a:pt x="0" y="194757"/>
                  <a:pt x="2556" y="197311"/>
                  <a:pt x="6390" y="197311"/>
                </a:cubicBezTo>
                <a:lnTo>
                  <a:pt x="137384" y="197311"/>
                </a:lnTo>
                <a:cubicBezTo>
                  <a:pt x="141218" y="197311"/>
                  <a:pt x="143774" y="194757"/>
                  <a:pt x="143774" y="190927"/>
                </a:cubicBezTo>
                <a:lnTo>
                  <a:pt x="143774" y="99636"/>
                </a:lnTo>
                <a:cubicBezTo>
                  <a:pt x="143774" y="95806"/>
                  <a:pt x="141218" y="93252"/>
                  <a:pt x="137384" y="93252"/>
                </a:cubicBezTo>
                <a:cubicBezTo>
                  <a:pt x="137384" y="93252"/>
                  <a:pt x="137384" y="93252"/>
                  <a:pt x="136745" y="93252"/>
                </a:cubicBezTo>
                <a:close/>
                <a:moveTo>
                  <a:pt x="25560" y="60694"/>
                </a:moveTo>
                <a:cubicBezTo>
                  <a:pt x="24921" y="35158"/>
                  <a:pt x="44091" y="14091"/>
                  <a:pt x="69650" y="13452"/>
                </a:cubicBezTo>
                <a:cubicBezTo>
                  <a:pt x="95210" y="12814"/>
                  <a:pt x="116297" y="31966"/>
                  <a:pt x="116936" y="57502"/>
                </a:cubicBezTo>
                <a:cubicBezTo>
                  <a:pt x="116936" y="58778"/>
                  <a:pt x="116936" y="60055"/>
                  <a:pt x="116936" y="60694"/>
                </a:cubicBezTo>
                <a:lnTo>
                  <a:pt x="116936" y="93252"/>
                </a:lnTo>
                <a:lnTo>
                  <a:pt x="25560" y="93252"/>
                </a:lnTo>
                <a:lnTo>
                  <a:pt x="25560" y="60694"/>
                </a:lnTo>
                <a:close/>
                <a:moveTo>
                  <a:pt x="130355" y="184543"/>
                </a:moveTo>
                <a:lnTo>
                  <a:pt x="12780" y="184543"/>
                </a:lnTo>
                <a:lnTo>
                  <a:pt x="12780" y="106020"/>
                </a:lnTo>
                <a:lnTo>
                  <a:pt x="130994" y="106020"/>
                </a:lnTo>
                <a:lnTo>
                  <a:pt x="130994" y="184543"/>
                </a:lnTo>
                <a:close/>
              </a:path>
            </a:pathLst>
          </a:custGeom>
          <a:solidFill>
            <a:schemeClr val="bg1"/>
          </a:solidFill>
          <a:ln w="6390" cap="flat">
            <a:noFill/>
            <a:prstDash val="solid"/>
            <a:miter/>
          </a:ln>
        </p:spPr>
        <p:txBody>
          <a:bodyPr rtlCol="0" anchor="ctr"/>
          <a:lstStyle/>
          <a:p>
            <a:endParaRPr lang="en-US" dirty="0"/>
          </a:p>
        </p:txBody>
      </p:sp>
      <p:grpSp>
        <p:nvGrpSpPr>
          <p:cNvPr id="131" name="Graphic 4">
            <a:extLst>
              <a:ext uri="{FF2B5EF4-FFF2-40B4-BE49-F238E27FC236}">
                <a16:creationId xmlns:a16="http://schemas.microsoft.com/office/drawing/2014/main" id="{59756E9D-F672-60FA-6C5D-BCA9A563AE31}"/>
              </a:ext>
            </a:extLst>
          </p:cNvPr>
          <p:cNvGrpSpPr/>
          <p:nvPr/>
        </p:nvGrpSpPr>
        <p:grpSpPr>
          <a:xfrm>
            <a:off x="1800543" y="2515033"/>
            <a:ext cx="609562" cy="638362"/>
            <a:chOff x="2647350" y="2451611"/>
            <a:chExt cx="187225" cy="201096"/>
          </a:xfrm>
          <a:solidFill>
            <a:schemeClr val="bg1"/>
          </a:solidFill>
        </p:grpSpPr>
        <p:sp>
          <p:nvSpPr>
            <p:cNvPr id="133" name="Graphic 4">
              <a:extLst>
                <a:ext uri="{FF2B5EF4-FFF2-40B4-BE49-F238E27FC236}">
                  <a16:creationId xmlns:a16="http://schemas.microsoft.com/office/drawing/2014/main" id="{5444B8C3-965E-0128-E31A-F8BECCCC431F}"/>
                </a:ext>
              </a:extLst>
            </p:cNvPr>
            <p:cNvSpPr/>
            <p:nvPr/>
          </p:nvSpPr>
          <p:spPr>
            <a:xfrm>
              <a:off x="2709972" y="2639939"/>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dirty="0"/>
            </a:p>
          </p:txBody>
        </p:sp>
        <p:sp>
          <p:nvSpPr>
            <p:cNvPr id="134" name="Graphic 4">
              <a:extLst>
                <a:ext uri="{FF2B5EF4-FFF2-40B4-BE49-F238E27FC236}">
                  <a16:creationId xmlns:a16="http://schemas.microsoft.com/office/drawing/2014/main" id="{ACF04793-3B2E-9115-8DA1-ED25395F8EB0}"/>
                </a:ext>
              </a:extLst>
            </p:cNvPr>
            <p:cNvSpPr/>
            <p:nvPr/>
          </p:nvSpPr>
          <p:spPr>
            <a:xfrm>
              <a:off x="2709972" y="2570992"/>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dirty="0"/>
            </a:p>
          </p:txBody>
        </p:sp>
        <p:sp>
          <p:nvSpPr>
            <p:cNvPr id="135" name="Graphic 4">
              <a:extLst>
                <a:ext uri="{FF2B5EF4-FFF2-40B4-BE49-F238E27FC236}">
                  <a16:creationId xmlns:a16="http://schemas.microsoft.com/office/drawing/2014/main" id="{80EF8159-4020-61F0-A3C1-2257AF894B06}"/>
                </a:ext>
              </a:extLst>
            </p:cNvPr>
            <p:cNvSpPr/>
            <p:nvPr/>
          </p:nvSpPr>
          <p:spPr>
            <a:xfrm>
              <a:off x="2709972" y="2502683"/>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dirty="0"/>
            </a:p>
          </p:txBody>
        </p:sp>
        <p:sp>
          <p:nvSpPr>
            <p:cNvPr id="136" name="Graphic 4">
              <a:extLst>
                <a:ext uri="{FF2B5EF4-FFF2-40B4-BE49-F238E27FC236}">
                  <a16:creationId xmlns:a16="http://schemas.microsoft.com/office/drawing/2014/main" id="{1A1DB593-7B4B-23A7-BE74-E19760FECD69}"/>
                </a:ext>
              </a:extLst>
            </p:cNvPr>
            <p:cNvSpPr/>
            <p:nvPr/>
          </p:nvSpPr>
          <p:spPr>
            <a:xfrm>
              <a:off x="2647350" y="2451611"/>
              <a:ext cx="78045" cy="63839"/>
            </a:xfrm>
            <a:custGeom>
              <a:avLst/>
              <a:gdLst>
                <a:gd name="connsiteX0" fmla="*/ 15975 w 78045"/>
                <a:gd name="connsiteY0" fmla="*/ 63840 h 63839"/>
                <a:gd name="connsiteX1" fmla="*/ 39618 w 78045"/>
                <a:gd name="connsiteY1" fmla="*/ 63840 h 63839"/>
                <a:gd name="connsiteX2" fmla="*/ 55593 w 78045"/>
                <a:gd name="connsiteY2" fmla="*/ 47880 h 63839"/>
                <a:gd name="connsiteX3" fmla="*/ 55593 w 78045"/>
                <a:gd name="connsiteY3" fmla="*/ 30005 h 63839"/>
                <a:gd name="connsiteX4" fmla="*/ 76040 w 78045"/>
                <a:gd name="connsiteY4" fmla="*/ 10853 h 63839"/>
                <a:gd name="connsiteX5" fmla="*/ 76679 w 78045"/>
                <a:gd name="connsiteY5" fmla="*/ 1915 h 63839"/>
                <a:gd name="connsiteX6" fmla="*/ 76679 w 78045"/>
                <a:gd name="connsiteY6" fmla="*/ 1915 h 63839"/>
                <a:gd name="connsiteX7" fmla="*/ 67733 w 78045"/>
                <a:gd name="connsiteY7" fmla="*/ 1915 h 63839"/>
                <a:gd name="connsiteX8" fmla="*/ 51759 w 78045"/>
                <a:gd name="connsiteY8" fmla="*/ 16598 h 63839"/>
                <a:gd name="connsiteX9" fmla="*/ 39618 w 78045"/>
                <a:gd name="connsiteY9" fmla="*/ 10853 h 63839"/>
                <a:gd name="connsiteX10" fmla="*/ 15975 w 78045"/>
                <a:gd name="connsiteY10" fmla="*/ 10853 h 63839"/>
                <a:gd name="connsiteX11" fmla="*/ 0 w 78045"/>
                <a:gd name="connsiteY11" fmla="*/ 26813 h 63839"/>
                <a:gd name="connsiteX12" fmla="*/ 0 w 78045"/>
                <a:gd name="connsiteY12" fmla="*/ 48518 h 63839"/>
                <a:gd name="connsiteX13" fmla="*/ 15975 w 78045"/>
                <a:gd name="connsiteY13" fmla="*/ 63840 h 63839"/>
                <a:gd name="connsiteX14" fmla="*/ 15975 w 78045"/>
                <a:gd name="connsiteY14" fmla="*/ 63840 h 63839"/>
                <a:gd name="connsiteX15" fmla="*/ 42813 w 78045"/>
                <a:gd name="connsiteY15" fmla="*/ 47880 h 63839"/>
                <a:gd name="connsiteX16" fmla="*/ 39618 w 78045"/>
                <a:gd name="connsiteY16" fmla="*/ 51072 h 63839"/>
                <a:gd name="connsiteX17" fmla="*/ 15975 w 78045"/>
                <a:gd name="connsiteY17" fmla="*/ 51072 h 63839"/>
                <a:gd name="connsiteX18" fmla="*/ 12780 w 78045"/>
                <a:gd name="connsiteY18" fmla="*/ 47880 h 63839"/>
                <a:gd name="connsiteX19" fmla="*/ 12780 w 78045"/>
                <a:gd name="connsiteY19" fmla="*/ 37027 h 63839"/>
                <a:gd name="connsiteX20" fmla="*/ 25560 w 78045"/>
                <a:gd name="connsiteY20" fmla="*/ 49157 h 63839"/>
                <a:gd name="connsiteX21" fmla="*/ 30033 w 78045"/>
                <a:gd name="connsiteY21" fmla="*/ 51072 h 63839"/>
                <a:gd name="connsiteX22" fmla="*/ 34506 w 78045"/>
                <a:gd name="connsiteY22" fmla="*/ 49157 h 63839"/>
                <a:gd name="connsiteX23" fmla="*/ 42174 w 78045"/>
                <a:gd name="connsiteY23" fmla="*/ 42134 h 63839"/>
                <a:gd name="connsiteX24" fmla="*/ 42174 w 78045"/>
                <a:gd name="connsiteY24" fmla="*/ 47880 h 63839"/>
                <a:gd name="connsiteX25" fmla="*/ 15975 w 78045"/>
                <a:gd name="connsiteY25" fmla="*/ 23621 h 63839"/>
                <a:gd name="connsiteX26" fmla="*/ 39618 w 78045"/>
                <a:gd name="connsiteY26" fmla="*/ 23621 h 63839"/>
                <a:gd name="connsiteX27" fmla="*/ 42174 w 78045"/>
                <a:gd name="connsiteY27" fmla="*/ 24897 h 63839"/>
                <a:gd name="connsiteX28" fmla="*/ 30672 w 78045"/>
                <a:gd name="connsiteY28" fmla="*/ 35750 h 63839"/>
                <a:gd name="connsiteX29" fmla="*/ 21087 w 78045"/>
                <a:gd name="connsiteY29" fmla="*/ 26813 h 63839"/>
                <a:gd name="connsiteX30" fmla="*/ 13419 w 78045"/>
                <a:gd name="connsiteY30" fmla="*/ 26174 h 63839"/>
                <a:gd name="connsiteX31" fmla="*/ 13419 w 78045"/>
                <a:gd name="connsiteY31" fmla="*/ 26174 h 63839"/>
                <a:gd name="connsiteX32" fmla="*/ 15975 w 78045"/>
                <a:gd name="connsiteY32" fmla="*/ 23621 h 63839"/>
                <a:gd name="connsiteX33" fmla="*/ 15975 w 78045"/>
                <a:gd name="connsiteY33" fmla="*/ 23621 h 63839"/>
                <a:gd name="connsiteX34" fmla="*/ 15975 w 78045"/>
                <a:gd name="connsiteY34" fmla="*/ 23621 h 6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045" h="63839">
                  <a:moveTo>
                    <a:pt x="15975" y="63840"/>
                  </a:moveTo>
                  <a:lnTo>
                    <a:pt x="39618" y="63840"/>
                  </a:lnTo>
                  <a:cubicBezTo>
                    <a:pt x="48564" y="63840"/>
                    <a:pt x="55593" y="56817"/>
                    <a:pt x="55593" y="47880"/>
                  </a:cubicBezTo>
                  <a:lnTo>
                    <a:pt x="55593" y="30005"/>
                  </a:lnTo>
                  <a:lnTo>
                    <a:pt x="76040" y="10853"/>
                  </a:lnTo>
                  <a:cubicBezTo>
                    <a:pt x="78596" y="8299"/>
                    <a:pt x="78596" y="4469"/>
                    <a:pt x="76679" y="1915"/>
                  </a:cubicBezTo>
                  <a:cubicBezTo>
                    <a:pt x="76679" y="1915"/>
                    <a:pt x="76679" y="1915"/>
                    <a:pt x="76679" y="1915"/>
                  </a:cubicBezTo>
                  <a:cubicBezTo>
                    <a:pt x="74123" y="-638"/>
                    <a:pt x="70289" y="-638"/>
                    <a:pt x="67733" y="1915"/>
                  </a:cubicBezTo>
                  <a:lnTo>
                    <a:pt x="51759" y="16598"/>
                  </a:lnTo>
                  <a:cubicBezTo>
                    <a:pt x="48564" y="12768"/>
                    <a:pt x="44730" y="10853"/>
                    <a:pt x="39618" y="10853"/>
                  </a:cubicBezTo>
                  <a:lnTo>
                    <a:pt x="15975" y="10853"/>
                  </a:lnTo>
                  <a:cubicBezTo>
                    <a:pt x="7029" y="10853"/>
                    <a:pt x="0" y="17875"/>
                    <a:pt x="0" y="26813"/>
                  </a:cubicBezTo>
                  <a:lnTo>
                    <a:pt x="0" y="48518"/>
                  </a:lnTo>
                  <a:cubicBezTo>
                    <a:pt x="639" y="56817"/>
                    <a:pt x="7668" y="63840"/>
                    <a:pt x="15975" y="63840"/>
                  </a:cubicBezTo>
                  <a:lnTo>
                    <a:pt x="15975" y="63840"/>
                  </a:lnTo>
                  <a:close/>
                  <a:moveTo>
                    <a:pt x="42813" y="47880"/>
                  </a:moveTo>
                  <a:cubicBezTo>
                    <a:pt x="42813" y="49795"/>
                    <a:pt x="41535" y="51072"/>
                    <a:pt x="39618" y="51072"/>
                  </a:cubicBezTo>
                  <a:lnTo>
                    <a:pt x="15975" y="51072"/>
                  </a:lnTo>
                  <a:cubicBezTo>
                    <a:pt x="14058" y="51072"/>
                    <a:pt x="12780" y="49795"/>
                    <a:pt x="12780" y="47880"/>
                  </a:cubicBezTo>
                  <a:lnTo>
                    <a:pt x="12780" y="37027"/>
                  </a:lnTo>
                  <a:lnTo>
                    <a:pt x="25560" y="49157"/>
                  </a:lnTo>
                  <a:cubicBezTo>
                    <a:pt x="26838" y="50433"/>
                    <a:pt x="28116" y="51072"/>
                    <a:pt x="30033" y="51072"/>
                  </a:cubicBezTo>
                  <a:cubicBezTo>
                    <a:pt x="31950" y="51072"/>
                    <a:pt x="33228" y="50433"/>
                    <a:pt x="34506" y="49157"/>
                  </a:cubicBezTo>
                  <a:lnTo>
                    <a:pt x="42174" y="42134"/>
                  </a:lnTo>
                  <a:lnTo>
                    <a:pt x="42174" y="47880"/>
                  </a:lnTo>
                  <a:close/>
                  <a:moveTo>
                    <a:pt x="15975" y="23621"/>
                  </a:moveTo>
                  <a:lnTo>
                    <a:pt x="39618" y="23621"/>
                  </a:lnTo>
                  <a:cubicBezTo>
                    <a:pt x="40896" y="23621"/>
                    <a:pt x="41535" y="24259"/>
                    <a:pt x="42174" y="24897"/>
                  </a:cubicBezTo>
                  <a:lnTo>
                    <a:pt x="30672" y="35750"/>
                  </a:lnTo>
                  <a:lnTo>
                    <a:pt x="21087" y="26813"/>
                  </a:lnTo>
                  <a:cubicBezTo>
                    <a:pt x="19170" y="24897"/>
                    <a:pt x="15336" y="24897"/>
                    <a:pt x="13419" y="26174"/>
                  </a:cubicBezTo>
                  <a:lnTo>
                    <a:pt x="13419" y="26174"/>
                  </a:lnTo>
                  <a:cubicBezTo>
                    <a:pt x="13419" y="24897"/>
                    <a:pt x="14697" y="23621"/>
                    <a:pt x="15975" y="23621"/>
                  </a:cubicBezTo>
                  <a:cubicBezTo>
                    <a:pt x="15975" y="23621"/>
                    <a:pt x="15975" y="23621"/>
                    <a:pt x="15975" y="23621"/>
                  </a:cubicBezTo>
                  <a:lnTo>
                    <a:pt x="15975" y="23621"/>
                  </a:lnTo>
                  <a:close/>
                </a:path>
              </a:pathLst>
            </a:custGeom>
            <a:grpFill/>
            <a:ln w="6390" cap="flat">
              <a:noFill/>
              <a:prstDash val="solid"/>
              <a:miter/>
            </a:ln>
          </p:spPr>
          <p:txBody>
            <a:bodyPr rtlCol="0" anchor="ctr"/>
            <a:lstStyle/>
            <a:p>
              <a:endParaRPr lang="en-US" dirty="0"/>
            </a:p>
          </p:txBody>
        </p:sp>
        <p:sp>
          <p:nvSpPr>
            <p:cNvPr id="137" name="Graphic 4">
              <a:extLst>
                <a:ext uri="{FF2B5EF4-FFF2-40B4-BE49-F238E27FC236}">
                  <a16:creationId xmlns:a16="http://schemas.microsoft.com/office/drawing/2014/main" id="{51E7CBF6-D4AD-6072-F1C5-8C4EFCDC4E54}"/>
                </a:ext>
              </a:extLst>
            </p:cNvPr>
            <p:cNvSpPr/>
            <p:nvPr/>
          </p:nvSpPr>
          <p:spPr>
            <a:xfrm>
              <a:off x="2647350" y="2519832"/>
              <a:ext cx="78045" cy="63928"/>
            </a:xfrm>
            <a:custGeom>
              <a:avLst/>
              <a:gdLst>
                <a:gd name="connsiteX0" fmla="*/ 15975 w 78045"/>
                <a:gd name="connsiteY0" fmla="*/ 63928 h 63928"/>
                <a:gd name="connsiteX1" fmla="*/ 39618 w 78045"/>
                <a:gd name="connsiteY1" fmla="*/ 63928 h 63928"/>
                <a:gd name="connsiteX2" fmla="*/ 55593 w 78045"/>
                <a:gd name="connsiteY2" fmla="*/ 47968 h 63928"/>
                <a:gd name="connsiteX3" fmla="*/ 55593 w 78045"/>
                <a:gd name="connsiteY3" fmla="*/ 30093 h 63928"/>
                <a:gd name="connsiteX4" fmla="*/ 76040 w 78045"/>
                <a:gd name="connsiteY4" fmla="*/ 10941 h 63928"/>
                <a:gd name="connsiteX5" fmla="*/ 76679 w 78045"/>
                <a:gd name="connsiteY5" fmla="*/ 2004 h 63928"/>
                <a:gd name="connsiteX6" fmla="*/ 67733 w 78045"/>
                <a:gd name="connsiteY6" fmla="*/ 1365 h 63928"/>
                <a:gd name="connsiteX7" fmla="*/ 67733 w 78045"/>
                <a:gd name="connsiteY7" fmla="*/ 1365 h 63928"/>
                <a:gd name="connsiteX8" fmla="*/ 51759 w 78045"/>
                <a:gd name="connsiteY8" fmla="*/ 16048 h 63928"/>
                <a:gd name="connsiteX9" fmla="*/ 39618 w 78045"/>
                <a:gd name="connsiteY9" fmla="*/ 10303 h 63928"/>
                <a:gd name="connsiteX10" fmla="*/ 15975 w 78045"/>
                <a:gd name="connsiteY10" fmla="*/ 10303 h 63928"/>
                <a:gd name="connsiteX11" fmla="*/ 0 w 78045"/>
                <a:gd name="connsiteY11" fmla="*/ 26263 h 63928"/>
                <a:gd name="connsiteX12" fmla="*/ 0 w 78045"/>
                <a:gd name="connsiteY12" fmla="*/ 47968 h 63928"/>
                <a:gd name="connsiteX13" fmla="*/ 15975 w 78045"/>
                <a:gd name="connsiteY13" fmla="*/ 63928 h 63928"/>
                <a:gd name="connsiteX14" fmla="*/ 42813 w 78045"/>
                <a:gd name="connsiteY14" fmla="*/ 48607 h 63928"/>
                <a:gd name="connsiteX15" fmla="*/ 39618 w 78045"/>
                <a:gd name="connsiteY15" fmla="*/ 51799 h 63928"/>
                <a:gd name="connsiteX16" fmla="*/ 15975 w 78045"/>
                <a:gd name="connsiteY16" fmla="*/ 51799 h 63928"/>
                <a:gd name="connsiteX17" fmla="*/ 12780 w 78045"/>
                <a:gd name="connsiteY17" fmla="*/ 48607 h 63928"/>
                <a:gd name="connsiteX18" fmla="*/ 12780 w 78045"/>
                <a:gd name="connsiteY18" fmla="*/ 37754 h 63928"/>
                <a:gd name="connsiteX19" fmla="*/ 25560 w 78045"/>
                <a:gd name="connsiteY19" fmla="*/ 49883 h 63928"/>
                <a:gd name="connsiteX20" fmla="*/ 34506 w 78045"/>
                <a:gd name="connsiteY20" fmla="*/ 49883 h 63928"/>
                <a:gd name="connsiteX21" fmla="*/ 42174 w 78045"/>
                <a:gd name="connsiteY21" fmla="*/ 42861 h 63928"/>
                <a:gd name="connsiteX22" fmla="*/ 42813 w 78045"/>
                <a:gd name="connsiteY22" fmla="*/ 48607 h 63928"/>
                <a:gd name="connsiteX23" fmla="*/ 15975 w 78045"/>
                <a:gd name="connsiteY23" fmla="*/ 23709 h 63928"/>
                <a:gd name="connsiteX24" fmla="*/ 39618 w 78045"/>
                <a:gd name="connsiteY24" fmla="*/ 23709 h 63928"/>
                <a:gd name="connsiteX25" fmla="*/ 42174 w 78045"/>
                <a:gd name="connsiteY25" fmla="*/ 24986 h 63928"/>
                <a:gd name="connsiteX26" fmla="*/ 30033 w 78045"/>
                <a:gd name="connsiteY26" fmla="*/ 35839 h 63928"/>
                <a:gd name="connsiteX27" fmla="*/ 20448 w 78045"/>
                <a:gd name="connsiteY27" fmla="*/ 26901 h 63928"/>
                <a:gd name="connsiteX28" fmla="*/ 12780 w 78045"/>
                <a:gd name="connsiteY28" fmla="*/ 26263 h 63928"/>
                <a:gd name="connsiteX29" fmla="*/ 12780 w 78045"/>
                <a:gd name="connsiteY29" fmla="*/ 26263 h 63928"/>
                <a:gd name="connsiteX30" fmla="*/ 15975 w 78045"/>
                <a:gd name="connsiteY30" fmla="*/ 23709 h 63928"/>
                <a:gd name="connsiteX31" fmla="*/ 15975 w 78045"/>
                <a:gd name="connsiteY31" fmla="*/ 23709 h 63928"/>
                <a:gd name="connsiteX32" fmla="*/ 15975 w 78045"/>
                <a:gd name="connsiteY32" fmla="*/ 23709 h 6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045" h="63928">
                  <a:moveTo>
                    <a:pt x="15975" y="63928"/>
                  </a:moveTo>
                  <a:lnTo>
                    <a:pt x="39618" y="63928"/>
                  </a:lnTo>
                  <a:cubicBezTo>
                    <a:pt x="48564" y="63928"/>
                    <a:pt x="55593" y="56906"/>
                    <a:pt x="55593" y="47968"/>
                  </a:cubicBezTo>
                  <a:lnTo>
                    <a:pt x="55593" y="30093"/>
                  </a:lnTo>
                  <a:lnTo>
                    <a:pt x="76040" y="10941"/>
                  </a:lnTo>
                  <a:cubicBezTo>
                    <a:pt x="78596" y="8388"/>
                    <a:pt x="78596" y="4557"/>
                    <a:pt x="76679" y="2004"/>
                  </a:cubicBezTo>
                  <a:cubicBezTo>
                    <a:pt x="74123" y="-550"/>
                    <a:pt x="70289" y="-550"/>
                    <a:pt x="67733" y="1365"/>
                  </a:cubicBezTo>
                  <a:lnTo>
                    <a:pt x="67733" y="1365"/>
                  </a:lnTo>
                  <a:lnTo>
                    <a:pt x="51759" y="16048"/>
                  </a:lnTo>
                  <a:cubicBezTo>
                    <a:pt x="48564" y="12218"/>
                    <a:pt x="44730" y="10303"/>
                    <a:pt x="39618" y="10303"/>
                  </a:cubicBezTo>
                  <a:lnTo>
                    <a:pt x="15975" y="10303"/>
                  </a:lnTo>
                  <a:cubicBezTo>
                    <a:pt x="7029" y="10303"/>
                    <a:pt x="0" y="17325"/>
                    <a:pt x="0" y="26263"/>
                  </a:cubicBezTo>
                  <a:lnTo>
                    <a:pt x="0" y="47968"/>
                  </a:lnTo>
                  <a:cubicBezTo>
                    <a:pt x="639" y="56906"/>
                    <a:pt x="7668" y="63928"/>
                    <a:pt x="15975" y="63928"/>
                  </a:cubicBezTo>
                  <a:close/>
                  <a:moveTo>
                    <a:pt x="42813" y="48607"/>
                  </a:moveTo>
                  <a:cubicBezTo>
                    <a:pt x="42813" y="50522"/>
                    <a:pt x="41535" y="51799"/>
                    <a:pt x="39618" y="51799"/>
                  </a:cubicBezTo>
                  <a:lnTo>
                    <a:pt x="15975" y="51799"/>
                  </a:lnTo>
                  <a:cubicBezTo>
                    <a:pt x="14058" y="51799"/>
                    <a:pt x="12780" y="50522"/>
                    <a:pt x="12780" y="48607"/>
                  </a:cubicBezTo>
                  <a:lnTo>
                    <a:pt x="12780" y="37754"/>
                  </a:lnTo>
                  <a:lnTo>
                    <a:pt x="25560" y="49883"/>
                  </a:lnTo>
                  <a:cubicBezTo>
                    <a:pt x="28116" y="51799"/>
                    <a:pt x="31950" y="51799"/>
                    <a:pt x="34506" y="49883"/>
                  </a:cubicBezTo>
                  <a:lnTo>
                    <a:pt x="42174" y="42861"/>
                  </a:lnTo>
                  <a:lnTo>
                    <a:pt x="42813" y="48607"/>
                  </a:lnTo>
                  <a:close/>
                  <a:moveTo>
                    <a:pt x="15975" y="23709"/>
                  </a:moveTo>
                  <a:lnTo>
                    <a:pt x="39618" y="23709"/>
                  </a:lnTo>
                  <a:cubicBezTo>
                    <a:pt x="40896" y="23709"/>
                    <a:pt x="41535" y="24347"/>
                    <a:pt x="42174" y="24986"/>
                  </a:cubicBezTo>
                  <a:lnTo>
                    <a:pt x="30033" y="35839"/>
                  </a:lnTo>
                  <a:lnTo>
                    <a:pt x="20448" y="26901"/>
                  </a:lnTo>
                  <a:cubicBezTo>
                    <a:pt x="18531" y="24986"/>
                    <a:pt x="14697" y="24986"/>
                    <a:pt x="12780" y="26263"/>
                  </a:cubicBezTo>
                  <a:lnTo>
                    <a:pt x="12780" y="26263"/>
                  </a:lnTo>
                  <a:cubicBezTo>
                    <a:pt x="12780" y="25624"/>
                    <a:pt x="14058" y="23709"/>
                    <a:pt x="15975" y="23709"/>
                  </a:cubicBezTo>
                  <a:cubicBezTo>
                    <a:pt x="15975" y="23709"/>
                    <a:pt x="15975" y="23709"/>
                    <a:pt x="15975" y="23709"/>
                  </a:cubicBezTo>
                  <a:lnTo>
                    <a:pt x="15975" y="23709"/>
                  </a:lnTo>
                  <a:close/>
                </a:path>
              </a:pathLst>
            </a:custGeom>
            <a:grpFill/>
            <a:ln w="6390" cap="flat">
              <a:noFill/>
              <a:prstDash val="solid"/>
              <a:miter/>
            </a:ln>
          </p:spPr>
          <p:txBody>
            <a:bodyPr rtlCol="0" anchor="ctr"/>
            <a:lstStyle/>
            <a:p>
              <a:endParaRPr lang="en-US" dirty="0"/>
            </a:p>
          </p:txBody>
        </p:sp>
        <p:sp>
          <p:nvSpPr>
            <p:cNvPr id="138" name="Graphic 4">
              <a:extLst>
                <a:ext uri="{FF2B5EF4-FFF2-40B4-BE49-F238E27FC236}">
                  <a16:creationId xmlns:a16="http://schemas.microsoft.com/office/drawing/2014/main" id="{E3413842-8157-43A3-9EFB-862BC4D374EE}"/>
                </a:ext>
              </a:extLst>
            </p:cNvPr>
            <p:cNvSpPr/>
            <p:nvPr/>
          </p:nvSpPr>
          <p:spPr>
            <a:xfrm>
              <a:off x="2647350" y="2588779"/>
              <a:ext cx="78045" cy="63928"/>
            </a:xfrm>
            <a:custGeom>
              <a:avLst/>
              <a:gdLst>
                <a:gd name="connsiteX0" fmla="*/ 76040 w 78045"/>
                <a:gd name="connsiteY0" fmla="*/ 10941 h 63928"/>
                <a:gd name="connsiteX1" fmla="*/ 76679 w 78045"/>
                <a:gd name="connsiteY1" fmla="*/ 2004 h 63928"/>
                <a:gd name="connsiteX2" fmla="*/ 67733 w 78045"/>
                <a:gd name="connsiteY2" fmla="*/ 1365 h 63928"/>
                <a:gd name="connsiteX3" fmla="*/ 67733 w 78045"/>
                <a:gd name="connsiteY3" fmla="*/ 1365 h 63928"/>
                <a:gd name="connsiteX4" fmla="*/ 51759 w 78045"/>
                <a:gd name="connsiteY4" fmla="*/ 16048 h 63928"/>
                <a:gd name="connsiteX5" fmla="*/ 39618 w 78045"/>
                <a:gd name="connsiteY5" fmla="*/ 10303 h 63928"/>
                <a:gd name="connsiteX6" fmla="*/ 15975 w 78045"/>
                <a:gd name="connsiteY6" fmla="*/ 10303 h 63928"/>
                <a:gd name="connsiteX7" fmla="*/ 0 w 78045"/>
                <a:gd name="connsiteY7" fmla="*/ 26263 h 63928"/>
                <a:gd name="connsiteX8" fmla="*/ 0 w 78045"/>
                <a:gd name="connsiteY8" fmla="*/ 47968 h 63928"/>
                <a:gd name="connsiteX9" fmla="*/ 15975 w 78045"/>
                <a:gd name="connsiteY9" fmla="*/ 63928 h 63928"/>
                <a:gd name="connsiteX10" fmla="*/ 39618 w 78045"/>
                <a:gd name="connsiteY10" fmla="*/ 63928 h 63928"/>
                <a:gd name="connsiteX11" fmla="*/ 55593 w 78045"/>
                <a:gd name="connsiteY11" fmla="*/ 47968 h 63928"/>
                <a:gd name="connsiteX12" fmla="*/ 55593 w 78045"/>
                <a:gd name="connsiteY12" fmla="*/ 30093 h 63928"/>
                <a:gd name="connsiteX13" fmla="*/ 76040 w 78045"/>
                <a:gd name="connsiteY13" fmla="*/ 10941 h 63928"/>
                <a:gd name="connsiteX14" fmla="*/ 15975 w 78045"/>
                <a:gd name="connsiteY14" fmla="*/ 23071 h 63928"/>
                <a:gd name="connsiteX15" fmla="*/ 39618 w 78045"/>
                <a:gd name="connsiteY15" fmla="*/ 23071 h 63928"/>
                <a:gd name="connsiteX16" fmla="*/ 42174 w 78045"/>
                <a:gd name="connsiteY16" fmla="*/ 24348 h 63928"/>
                <a:gd name="connsiteX17" fmla="*/ 30033 w 78045"/>
                <a:gd name="connsiteY17" fmla="*/ 35200 h 63928"/>
                <a:gd name="connsiteX18" fmla="*/ 20448 w 78045"/>
                <a:gd name="connsiteY18" fmla="*/ 26263 h 63928"/>
                <a:gd name="connsiteX19" fmla="*/ 12780 w 78045"/>
                <a:gd name="connsiteY19" fmla="*/ 25624 h 63928"/>
                <a:gd name="connsiteX20" fmla="*/ 12780 w 78045"/>
                <a:gd name="connsiteY20" fmla="*/ 25624 h 63928"/>
                <a:gd name="connsiteX21" fmla="*/ 15975 w 78045"/>
                <a:gd name="connsiteY21" fmla="*/ 23071 h 63928"/>
                <a:gd name="connsiteX22" fmla="*/ 15975 w 78045"/>
                <a:gd name="connsiteY22" fmla="*/ 23071 h 63928"/>
                <a:gd name="connsiteX23" fmla="*/ 42813 w 78045"/>
                <a:gd name="connsiteY23" fmla="*/ 47968 h 63928"/>
                <a:gd name="connsiteX24" fmla="*/ 39618 w 78045"/>
                <a:gd name="connsiteY24" fmla="*/ 51160 h 63928"/>
                <a:gd name="connsiteX25" fmla="*/ 15975 w 78045"/>
                <a:gd name="connsiteY25" fmla="*/ 51160 h 63928"/>
                <a:gd name="connsiteX26" fmla="*/ 12780 w 78045"/>
                <a:gd name="connsiteY26" fmla="*/ 47968 h 63928"/>
                <a:gd name="connsiteX27" fmla="*/ 12780 w 78045"/>
                <a:gd name="connsiteY27" fmla="*/ 37116 h 63928"/>
                <a:gd name="connsiteX28" fmla="*/ 25560 w 78045"/>
                <a:gd name="connsiteY28" fmla="*/ 49245 h 63928"/>
                <a:gd name="connsiteX29" fmla="*/ 34506 w 78045"/>
                <a:gd name="connsiteY29" fmla="*/ 49245 h 63928"/>
                <a:gd name="connsiteX30" fmla="*/ 42174 w 78045"/>
                <a:gd name="connsiteY30" fmla="*/ 42223 h 63928"/>
                <a:gd name="connsiteX31" fmla="*/ 42813 w 78045"/>
                <a:gd name="connsiteY31" fmla="*/ 47968 h 6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8045" h="63928">
                  <a:moveTo>
                    <a:pt x="76040" y="10941"/>
                  </a:moveTo>
                  <a:cubicBezTo>
                    <a:pt x="78596" y="8388"/>
                    <a:pt x="78596" y="4557"/>
                    <a:pt x="76679" y="2004"/>
                  </a:cubicBezTo>
                  <a:cubicBezTo>
                    <a:pt x="74123" y="-550"/>
                    <a:pt x="70289" y="-550"/>
                    <a:pt x="67733" y="1365"/>
                  </a:cubicBezTo>
                  <a:lnTo>
                    <a:pt x="67733" y="1365"/>
                  </a:lnTo>
                  <a:lnTo>
                    <a:pt x="51759" y="16048"/>
                  </a:lnTo>
                  <a:cubicBezTo>
                    <a:pt x="48564" y="12218"/>
                    <a:pt x="44730" y="10303"/>
                    <a:pt x="39618" y="10303"/>
                  </a:cubicBezTo>
                  <a:lnTo>
                    <a:pt x="15975" y="10303"/>
                  </a:lnTo>
                  <a:cubicBezTo>
                    <a:pt x="7029" y="10303"/>
                    <a:pt x="0" y="17325"/>
                    <a:pt x="0" y="26263"/>
                  </a:cubicBezTo>
                  <a:lnTo>
                    <a:pt x="0" y="47968"/>
                  </a:lnTo>
                  <a:cubicBezTo>
                    <a:pt x="0" y="56906"/>
                    <a:pt x="7029" y="63928"/>
                    <a:pt x="15975" y="63928"/>
                  </a:cubicBezTo>
                  <a:lnTo>
                    <a:pt x="39618" y="63928"/>
                  </a:lnTo>
                  <a:cubicBezTo>
                    <a:pt x="48564" y="63928"/>
                    <a:pt x="55593" y="56906"/>
                    <a:pt x="55593" y="47968"/>
                  </a:cubicBezTo>
                  <a:lnTo>
                    <a:pt x="55593" y="30093"/>
                  </a:lnTo>
                  <a:lnTo>
                    <a:pt x="76040" y="10941"/>
                  </a:lnTo>
                  <a:close/>
                  <a:moveTo>
                    <a:pt x="15975" y="23071"/>
                  </a:moveTo>
                  <a:lnTo>
                    <a:pt x="39618" y="23071"/>
                  </a:lnTo>
                  <a:cubicBezTo>
                    <a:pt x="40896" y="23071"/>
                    <a:pt x="41535" y="23709"/>
                    <a:pt x="42174" y="24348"/>
                  </a:cubicBezTo>
                  <a:lnTo>
                    <a:pt x="30033" y="35200"/>
                  </a:lnTo>
                  <a:lnTo>
                    <a:pt x="20448" y="26263"/>
                  </a:lnTo>
                  <a:cubicBezTo>
                    <a:pt x="18531" y="24348"/>
                    <a:pt x="14697" y="24348"/>
                    <a:pt x="12780" y="25624"/>
                  </a:cubicBezTo>
                  <a:lnTo>
                    <a:pt x="12780" y="25624"/>
                  </a:lnTo>
                  <a:cubicBezTo>
                    <a:pt x="12780" y="24986"/>
                    <a:pt x="14058" y="23709"/>
                    <a:pt x="15975" y="23071"/>
                  </a:cubicBezTo>
                  <a:cubicBezTo>
                    <a:pt x="15975" y="23709"/>
                    <a:pt x="15975" y="23709"/>
                    <a:pt x="15975" y="23071"/>
                  </a:cubicBezTo>
                  <a:close/>
                  <a:moveTo>
                    <a:pt x="42813" y="47968"/>
                  </a:moveTo>
                  <a:cubicBezTo>
                    <a:pt x="42813" y="49884"/>
                    <a:pt x="41535" y="51160"/>
                    <a:pt x="39618" y="51160"/>
                  </a:cubicBezTo>
                  <a:lnTo>
                    <a:pt x="15975" y="51160"/>
                  </a:lnTo>
                  <a:cubicBezTo>
                    <a:pt x="14058" y="51160"/>
                    <a:pt x="12780" y="49884"/>
                    <a:pt x="12780" y="47968"/>
                  </a:cubicBezTo>
                  <a:lnTo>
                    <a:pt x="12780" y="37116"/>
                  </a:lnTo>
                  <a:lnTo>
                    <a:pt x="25560" y="49245"/>
                  </a:lnTo>
                  <a:cubicBezTo>
                    <a:pt x="28116" y="51160"/>
                    <a:pt x="31950" y="51160"/>
                    <a:pt x="34506" y="49245"/>
                  </a:cubicBezTo>
                  <a:lnTo>
                    <a:pt x="42174" y="42223"/>
                  </a:lnTo>
                  <a:lnTo>
                    <a:pt x="42813" y="47968"/>
                  </a:lnTo>
                  <a:close/>
                </a:path>
              </a:pathLst>
            </a:custGeom>
            <a:grpFill/>
            <a:ln w="6390" cap="flat">
              <a:noFill/>
              <a:prstDash val="solid"/>
              <a:miter/>
            </a:ln>
          </p:spPr>
          <p:txBody>
            <a:bodyPr rtlCol="0" anchor="ctr"/>
            <a:lstStyle/>
            <a:p>
              <a:endParaRPr lang="en-US" dirty="0"/>
            </a:p>
          </p:txBody>
        </p:sp>
      </p:grpSp>
      <p:grpSp>
        <p:nvGrpSpPr>
          <p:cNvPr id="32" name="Group 31">
            <a:extLst>
              <a:ext uri="{FF2B5EF4-FFF2-40B4-BE49-F238E27FC236}">
                <a16:creationId xmlns:a16="http://schemas.microsoft.com/office/drawing/2014/main" id="{EFBAB31B-2958-76A4-20E5-861C783F4FF5}"/>
              </a:ext>
            </a:extLst>
          </p:cNvPr>
          <p:cNvGrpSpPr>
            <a:grpSpLocks noChangeAspect="1"/>
          </p:cNvGrpSpPr>
          <p:nvPr/>
        </p:nvGrpSpPr>
        <p:grpSpPr>
          <a:xfrm>
            <a:off x="10014086" y="2579248"/>
            <a:ext cx="506614" cy="504373"/>
            <a:chOff x="6923672" y="4955694"/>
            <a:chExt cx="1077912" cy="1073150"/>
          </a:xfrm>
          <a:solidFill>
            <a:schemeClr val="bg1"/>
          </a:solidFill>
        </p:grpSpPr>
        <p:sp>
          <p:nvSpPr>
            <p:cNvPr id="33" name="Freeform 15">
              <a:extLst>
                <a:ext uri="{FF2B5EF4-FFF2-40B4-BE49-F238E27FC236}">
                  <a16:creationId xmlns:a16="http://schemas.microsoft.com/office/drawing/2014/main" id="{6952697F-3BE9-B716-29F9-4AB2D687C4C6}"/>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6">
              <a:extLst>
                <a:ext uri="{FF2B5EF4-FFF2-40B4-BE49-F238E27FC236}">
                  <a16:creationId xmlns:a16="http://schemas.microsoft.com/office/drawing/2014/main" id="{9A3A6E5F-5C41-3BD1-7685-0CD581C3BC9F}"/>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7">
              <a:extLst>
                <a:ext uri="{FF2B5EF4-FFF2-40B4-BE49-F238E27FC236}">
                  <a16:creationId xmlns:a16="http://schemas.microsoft.com/office/drawing/2014/main" id="{3BC5365A-2363-AD04-0BB5-5043EEF4594B}"/>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8">
              <a:extLst>
                <a:ext uri="{FF2B5EF4-FFF2-40B4-BE49-F238E27FC236}">
                  <a16:creationId xmlns:a16="http://schemas.microsoft.com/office/drawing/2014/main" id="{5DF8440A-7159-C4CC-1619-E1B41529A8CC}"/>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9">
              <a:extLst>
                <a:ext uri="{FF2B5EF4-FFF2-40B4-BE49-F238E27FC236}">
                  <a16:creationId xmlns:a16="http://schemas.microsoft.com/office/drawing/2014/main" id="{DFB927D6-640F-0DC5-22CF-83FC086DCC42}"/>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0">
              <a:extLst>
                <a:ext uri="{FF2B5EF4-FFF2-40B4-BE49-F238E27FC236}">
                  <a16:creationId xmlns:a16="http://schemas.microsoft.com/office/drawing/2014/main" id="{1094706B-72A4-BCD1-44FB-D0C71227949C}"/>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1" name="Freeform 933">
            <a:extLst>
              <a:ext uri="{FF2B5EF4-FFF2-40B4-BE49-F238E27FC236}">
                <a16:creationId xmlns:a16="http://schemas.microsoft.com/office/drawing/2014/main" id="{D57E10BA-14A9-39A0-738A-6FC79CE961D5}"/>
              </a:ext>
            </a:extLst>
          </p:cNvPr>
          <p:cNvSpPr>
            <a:spLocks noChangeAspect="1" noEditPoints="1"/>
          </p:cNvSpPr>
          <p:nvPr/>
        </p:nvSpPr>
        <p:spPr bwMode="auto">
          <a:xfrm>
            <a:off x="5867022" y="2625754"/>
            <a:ext cx="721950" cy="504000"/>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solidFill>
            <a:schemeClr val="bg1"/>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400">
            <a:extLst>
              <a:ext uri="{FF2B5EF4-FFF2-40B4-BE49-F238E27FC236}">
                <a16:creationId xmlns:a16="http://schemas.microsoft.com/office/drawing/2014/main" id="{89B1B310-F1A1-92A2-F3C6-E6AFFDCCBAB2}"/>
              </a:ext>
            </a:extLst>
          </p:cNvPr>
          <p:cNvSpPr>
            <a:spLocks noEditPoints="1"/>
          </p:cNvSpPr>
          <p:nvPr/>
        </p:nvSpPr>
        <p:spPr bwMode="auto">
          <a:xfrm>
            <a:off x="6332791" y="2340669"/>
            <a:ext cx="348218" cy="252000"/>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solidFill>
            <a:schemeClr val="bg1"/>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43" name="Graphic 42" descr="Database outline">
            <a:extLst>
              <a:ext uri="{FF2B5EF4-FFF2-40B4-BE49-F238E27FC236}">
                <a16:creationId xmlns:a16="http://schemas.microsoft.com/office/drawing/2014/main" id="{1190B616-E22E-9B0B-284F-AECA0A8074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78296" y="2625541"/>
            <a:ext cx="697294" cy="637190"/>
          </a:xfrm>
          <a:prstGeom prst="rect">
            <a:avLst/>
          </a:prstGeom>
        </p:spPr>
      </p:pic>
      <p:sp>
        <p:nvSpPr>
          <p:cNvPr id="44" name="Freeform 350">
            <a:extLst>
              <a:ext uri="{FF2B5EF4-FFF2-40B4-BE49-F238E27FC236}">
                <a16:creationId xmlns:a16="http://schemas.microsoft.com/office/drawing/2014/main" id="{EB8A814E-AE01-E639-E526-37A680872726}"/>
              </a:ext>
            </a:extLst>
          </p:cNvPr>
          <p:cNvSpPr>
            <a:spLocks noEditPoints="1"/>
          </p:cNvSpPr>
          <p:nvPr/>
        </p:nvSpPr>
        <p:spPr bwMode="auto">
          <a:xfrm>
            <a:off x="4115176" y="2413303"/>
            <a:ext cx="461480" cy="575490"/>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solidFill>
            <a:schemeClr val="bg1"/>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9198790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7618967262242416"/>
</p:tagLst>
</file>

<file path=ppt/tags/tag4.xml><?xml version="1.0" encoding="utf-8"?>
<p:tagLst xmlns:a="http://schemas.openxmlformats.org/drawingml/2006/main" xmlns:r="http://schemas.openxmlformats.org/officeDocument/2006/relationships" xmlns:p="http://schemas.openxmlformats.org/presentationml/2006/main">
  <p:tag name="TEMPLAFYSLIDEID" val="637618967262711227"/>
</p:tagLst>
</file>

<file path=ppt/tags/tag5.xml><?xml version="1.0" encoding="utf-8"?>
<p:tagLst xmlns:a="http://schemas.openxmlformats.org/drawingml/2006/main" xmlns:r="http://schemas.openxmlformats.org/officeDocument/2006/relationships" xmlns:p="http://schemas.openxmlformats.org/presentationml/2006/main">
  <p:tag name="TEMPLAFYSLIDEID" val="637618967262711227"/>
</p:tagLst>
</file>

<file path=ppt/tags/tag6.xml><?xml version="1.0" encoding="utf-8"?>
<p:tagLst xmlns:a="http://schemas.openxmlformats.org/drawingml/2006/main" xmlns:r="http://schemas.openxmlformats.org/officeDocument/2006/relationships" xmlns:p="http://schemas.openxmlformats.org/presentationml/2006/main">
  <p:tag name="TEMPLAFYSLIDEID" val="637618967262711227"/>
</p:tagLst>
</file>

<file path=ppt/tags/tag7.xml><?xml version="1.0" encoding="utf-8"?>
<p:tagLst xmlns:a="http://schemas.openxmlformats.org/drawingml/2006/main" xmlns:r="http://schemas.openxmlformats.org/officeDocument/2006/relationships" xmlns:p="http://schemas.openxmlformats.org/presentationml/2006/main">
  <p:tag name="TEMPLAFYSLIDEID" val="637618967262711227"/>
</p:tagLst>
</file>

<file path=ppt/theme/theme1.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TemplafySlideFormConfiguration><![CDATA[{"formFields":[],"formDataEntries":[]}]]></TemplafySlideForm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DC265A3CA62D44BA91C034894AA97BA" ma:contentTypeVersion="11" ma:contentTypeDescription="Create a new document." ma:contentTypeScope="" ma:versionID="d55d5f225bb34481479651a37a4fbebd">
  <xsd:schema xmlns:xsd="http://www.w3.org/2001/XMLSchema" xmlns:xs="http://www.w3.org/2001/XMLSchema" xmlns:p="http://schemas.microsoft.com/office/2006/metadata/properties" xmlns:ns2="ff6ce76a-630d-4787-8c87-2f9d65076ba9" xmlns:ns3="e8e3ceee-9229-463f-8b4b-47cecfd6ce92" targetNamespace="http://schemas.microsoft.com/office/2006/metadata/properties" ma:root="true" ma:fieldsID="a30241e6e2f676aabc56744cc5581a2e" ns2:_="" ns3:_="">
    <xsd:import namespace="ff6ce76a-630d-4787-8c87-2f9d65076ba9"/>
    <xsd:import namespace="e8e3ceee-9229-463f-8b4b-47cecfd6ce92"/>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6ce76a-630d-4787-8c87-2f9d65076b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8e3ceee-9229-463f-8b4b-47cecfd6ce92"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e2a4fbdb-2b5c-4340-bee4-f263e39ec450}" ma:internalName="TaxCatchAll" ma:showField="CatchAllData" ma:web="e8e3ceee-9229-463f-8b4b-47cecfd6ce92">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TemplafySlideTemplateConfiguration><![CDATA[{"documentContentValidatorConfiguration":{"enableDocumentContentValidator":false,"documentContentValidatorVersion":0},"elementsMetadata":[],"slideId":"637265039702178425","enableDocumentContentUpdater":true,"version":"1.1"}]]></TemplafySlideTemplateConfiguration>
</file>

<file path=customXml/item5.xml><?xml version="1.0" encoding="utf-8"?>
<TemplafySlideTemplateConfiguration><![CDATA[{"documentContentValidatorConfiguration":{"enableDocumentContentValidator":false,"documentContentValidatorVersion":0},"elementsMetadata":[],"slideId":"637265039711241937","enableDocumentContentUpdater":true,"version":"1.1"}]]></TemplafySlideTemplateConfiguration>
</file>

<file path=customXml/item6.xml><?xml version="1.0" encoding="utf-8"?>
<TemplafySlideFormConfiguration><![CDATA[{"formFields":[],"formDataEntries":[]}]]></TemplafySlideFormConfiguration>
</file>

<file path=customXml/item7.xml><?xml version="1.0" encoding="utf-8"?>
<p:properties xmlns:p="http://schemas.microsoft.com/office/2006/metadata/properties" xmlns:xsi="http://www.w3.org/2001/XMLSchema-instance" xmlns:pc="http://schemas.microsoft.com/office/infopath/2007/PartnerControls">
  <documentManagement>
    <TaxCatchAll xmlns="e8e3ceee-9229-463f-8b4b-47cecfd6ce92" xsi:nil="true"/>
    <lcf76f155ced4ddcb4097134ff3c332f xmlns="ff6ce76a-630d-4787-8c87-2f9d65076ba9">
      <Terms xmlns="http://schemas.microsoft.com/office/infopath/2007/PartnerControls"/>
    </lcf76f155ced4ddcb4097134ff3c332f>
    <SharedWithUsers xmlns="e8e3ceee-9229-463f-8b4b-47cecfd6ce92">
      <UserInfo>
        <DisplayName>NZ Remediation BD Members</DisplayName>
        <AccountId>7</AccountId>
        <AccountType/>
      </UserInfo>
    </SharedWithUsers>
  </documentManagement>
</p:properties>
</file>

<file path=customXml/itemProps1.xml><?xml version="1.0" encoding="utf-8"?>
<ds:datastoreItem xmlns:ds="http://schemas.openxmlformats.org/officeDocument/2006/customXml" ds:itemID="{4B11F5C5-85F3-48A3-825B-D27B03262FE1}">
  <ds:schemaRefs/>
</ds:datastoreItem>
</file>

<file path=customXml/itemProps2.xml><?xml version="1.0" encoding="utf-8"?>
<ds:datastoreItem xmlns:ds="http://schemas.openxmlformats.org/officeDocument/2006/customXml" ds:itemID="{AB2AC4E5-7E34-47B0-8CD6-4583D70BBF8F}">
  <ds:schemaRefs>
    <ds:schemaRef ds:uri="http://schemas.microsoft.com/sharepoint/v3/contenttype/forms"/>
  </ds:schemaRefs>
</ds:datastoreItem>
</file>

<file path=customXml/itemProps3.xml><?xml version="1.0" encoding="utf-8"?>
<ds:datastoreItem xmlns:ds="http://schemas.openxmlformats.org/officeDocument/2006/customXml" ds:itemID="{9EA54F3E-BA14-48A8-B6BE-26E617B06CBC}">
  <ds:schemaRefs>
    <ds:schemaRef ds:uri="e8e3ceee-9229-463f-8b4b-47cecfd6ce92"/>
    <ds:schemaRef ds:uri="ff6ce76a-630d-4787-8c87-2f9d65076ba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09F98225-5257-4BBF-BE2F-40282534AC85}">
  <ds:schemaRefs/>
</ds:datastoreItem>
</file>

<file path=customXml/itemProps5.xml><?xml version="1.0" encoding="utf-8"?>
<ds:datastoreItem xmlns:ds="http://schemas.openxmlformats.org/officeDocument/2006/customXml" ds:itemID="{70925B9E-4E13-4A74-B85D-E157914C77E4}">
  <ds:schemaRefs/>
</ds:datastoreItem>
</file>

<file path=customXml/itemProps6.xml><?xml version="1.0" encoding="utf-8"?>
<ds:datastoreItem xmlns:ds="http://schemas.openxmlformats.org/officeDocument/2006/customXml" ds:itemID="{982768D0-C862-4BCB-AFE2-5580FC7F82FB}">
  <ds:schemaRefs/>
</ds:datastoreItem>
</file>

<file path=customXml/itemProps7.xml><?xml version="1.0" encoding="utf-8"?>
<ds:datastoreItem xmlns:ds="http://schemas.openxmlformats.org/officeDocument/2006/customXml" ds:itemID="{4B6BCD9D-8F6D-41DD-864D-E128EB99C7AF}">
  <ds:schemaRefs>
    <ds:schemaRef ds:uri="http://purl.org/dc/elements/1.1/"/>
    <ds:schemaRef ds:uri="e8e3ceee-9229-463f-8b4b-47cecfd6ce92"/>
    <ds:schemaRef ds:uri="http://schemas.microsoft.com/office/2006/documentManagement/types"/>
    <ds:schemaRef ds:uri="http://schemas.microsoft.com/office/infopath/2007/PartnerControls"/>
    <ds:schemaRef ds:uri="http://purl.org/dc/terms/"/>
    <ds:schemaRef ds:uri="http://purl.org/dc/dcmitype/"/>
    <ds:schemaRef ds:uri="http://www.w3.org/XML/1998/namespace"/>
    <ds:schemaRef ds:uri="http://schemas.openxmlformats.org/package/2006/metadata/core-properties"/>
    <ds:schemaRef ds:uri="ff6ce76a-630d-4787-8c87-2f9d65076ba9"/>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67</TotalTime>
  <Words>899</Words>
  <Application>Microsoft Office PowerPoint</Application>
  <PresentationFormat>Widescreen</PresentationFormat>
  <Paragraphs>224</Paragraphs>
  <Slides>20</Slides>
  <Notes>19</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1" baseType="lpstr">
      <vt:lpstr>等线</vt:lpstr>
      <vt:lpstr>Arial</vt:lpstr>
      <vt:lpstr>Calibri</vt:lpstr>
      <vt:lpstr>Calibri Light</vt:lpstr>
      <vt:lpstr>Frutiger Next Pro Light</vt:lpstr>
      <vt:lpstr>Verdana</vt:lpstr>
      <vt:lpstr>Wingdings 2</vt:lpstr>
      <vt:lpstr>1_Deloitte Brand Theme</vt:lpstr>
      <vt:lpstr>Office Theme</vt:lpstr>
      <vt:lpstr>Deloitte Bran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utomated contract re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son, Catherine</dc:creator>
  <cp:lastModifiedBy>Hodson, Laura</cp:lastModifiedBy>
  <cp:revision>3</cp:revision>
  <dcterms:created xsi:type="dcterms:W3CDTF">2023-06-22T10:35:37Z</dcterms:created>
  <dcterms:modified xsi:type="dcterms:W3CDTF">2023-07-25T02:0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6-22T10:35: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72b5762-5288-4c77-b9ca-8333ce4bb9dd</vt:lpwstr>
  </property>
  <property fmtid="{D5CDD505-2E9C-101B-9397-08002B2CF9AE}" pid="8" name="MSIP_Label_ea60d57e-af5b-4752-ac57-3e4f28ca11dc_ContentBits">
    <vt:lpwstr>0</vt:lpwstr>
  </property>
  <property fmtid="{D5CDD505-2E9C-101B-9397-08002B2CF9AE}" pid="9" name="ContentTypeId">
    <vt:lpwstr>0x0101008DC265A3CA62D44BA91C034894AA97BA</vt:lpwstr>
  </property>
  <property fmtid="{D5CDD505-2E9C-101B-9397-08002B2CF9AE}" pid="10" name="MediaServiceImageTags">
    <vt:lpwstr/>
  </property>
</Properties>
</file>